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6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7.xml" ContentType="application/vnd.openxmlformats-officedocument.theme+xml"/>
  <Override PartName="/ppt/tags/tag3.xml" ContentType="application/vnd.openxmlformats-officedocument.presentationml.tags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8.xml" ContentType="application/vnd.openxmlformats-officedocument.theme+xml"/>
  <Override PartName="/ppt/tags/tag4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08" r:id="rId1"/>
    <p:sldMasterId id="2147483820" r:id="rId2"/>
    <p:sldMasterId id="2147483832" r:id="rId3"/>
    <p:sldMasterId id="2147483870" r:id="rId4"/>
    <p:sldMasterId id="2147483883" r:id="rId5"/>
    <p:sldMasterId id="2147483896" r:id="rId6"/>
    <p:sldMasterId id="2147483936" r:id="rId7"/>
    <p:sldMasterId id="2147483953" r:id="rId8"/>
  </p:sldMasterIdLst>
  <p:notesMasterIdLst>
    <p:notesMasterId r:id="rId27"/>
  </p:notesMasterIdLst>
  <p:handoutMasterIdLst>
    <p:handoutMasterId r:id="rId28"/>
  </p:handoutMasterIdLst>
  <p:sldIdLst>
    <p:sldId id="370" r:id="rId9"/>
    <p:sldId id="396" r:id="rId10"/>
    <p:sldId id="397" r:id="rId11"/>
    <p:sldId id="398" r:id="rId12"/>
    <p:sldId id="399" r:id="rId13"/>
    <p:sldId id="319" r:id="rId14"/>
    <p:sldId id="262" r:id="rId15"/>
    <p:sldId id="270" r:id="rId16"/>
    <p:sldId id="400" r:id="rId17"/>
    <p:sldId id="401" r:id="rId18"/>
    <p:sldId id="402" r:id="rId19"/>
    <p:sldId id="403" r:id="rId20"/>
    <p:sldId id="405" r:id="rId21"/>
    <p:sldId id="404" r:id="rId22"/>
    <p:sldId id="277" r:id="rId23"/>
    <p:sldId id="406" r:id="rId24"/>
    <p:sldId id="407" r:id="rId25"/>
    <p:sldId id="408" r:id="rId26"/>
  </p:sldIdLst>
  <p:sldSz cx="12192000" cy="6858000"/>
  <p:notesSz cx="6797675" cy="9872663"/>
  <p:custDataLst>
    <p:tags r:id="rId29"/>
  </p:custDataLst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20A35F5-6F7D-E43E-8F52-CDF55CA47EC2}" name="Une Tangen" initials="UT" userId="S::une.tangen@ks.no::ec6dd4d0-9964-4f1e-b96c-324c3d55b21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001A58"/>
    <a:srgbClr val="BCCFE8"/>
    <a:srgbClr val="008CD3"/>
    <a:srgbClr val="0010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24E5988-A909-4175-82D6-16D9192CF171}" v="196" dt="2023-11-25T20:07:48.49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86395" autoAdjust="0"/>
  </p:normalViewPr>
  <p:slideViewPr>
    <p:cSldViewPr snapToGrid="0" snapToObjects="1">
      <p:cViewPr varScale="1">
        <p:scale>
          <a:sx n="36" d="100"/>
          <a:sy n="36" d="100"/>
        </p:scale>
        <p:origin x="116" y="4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90" d="100"/>
        <a:sy n="190" d="100"/>
      </p:scale>
      <p:origin x="0" y="-17650"/>
    </p:cViewPr>
  </p:sorterViewPr>
  <p:notesViewPr>
    <p:cSldViewPr snapToGrid="0" snapToObjects="1">
      <p:cViewPr varScale="1">
        <p:scale>
          <a:sx n="99" d="100"/>
          <a:sy n="99" d="100"/>
        </p:scale>
        <p:origin x="4272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35" Type="http://schemas.microsoft.com/office/2018/10/relationships/authors" Target="authors.xml"/><Relationship Id="rId8" Type="http://schemas.openxmlformats.org/officeDocument/2006/relationships/slideMaster" Target="slideMasters/slideMaster8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E6778F-9D10-D546-AD42-60AA27D9D64A}" type="datetimeFigureOut">
              <a:t>30.11.2023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85C552-36E2-FE4A-8959-3A7D73BFBA2A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108919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58641E-22C6-442F-B7A7-A6EDCE5CAC5A}" type="datetimeFigureOut">
              <a:rPr lang="nb-NO" smtClean="0"/>
              <a:t>30.11.2023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106363" y="739775"/>
            <a:ext cx="6584950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73965F-E4D9-4280-9CE3-125098F02CB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554006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nb-NO" sz="110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20ECF6-CBA6-4537-B7B7-E29CDAD6BD89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48443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33218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7080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37355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190661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66321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23197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23862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19996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6300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72252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72932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73298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77468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25.emf"/><Relationship Id="rId4" Type="http://schemas.openxmlformats.org/officeDocument/2006/relationships/image" Target="../media/image24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25.emf"/><Relationship Id="rId4" Type="http://schemas.openxmlformats.org/officeDocument/2006/relationships/image" Target="../media/image24.emf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KS_Tittel mast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64228" y="2196036"/>
            <a:ext cx="9915291" cy="466880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28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664227" y="2794020"/>
            <a:ext cx="8534400" cy="516192"/>
          </a:xfrm>
        </p:spPr>
        <p:txBody>
          <a:bodyPr lIns="0" tIns="0" bIns="0">
            <a:normAutofit/>
          </a:bodyPr>
          <a:lstStyle>
            <a:lvl1pPr marL="0" indent="0" algn="l">
              <a:buNone/>
              <a:defRPr sz="2000" baseline="0">
                <a:solidFill>
                  <a:srgbClr val="FFFFFF"/>
                </a:solidFill>
                <a:latin typeface="Calibri"/>
                <a:cs typeface="Calibri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dirty="0"/>
              <a:t>Navn Etternavn</a:t>
            </a:r>
          </a:p>
        </p:txBody>
      </p:sp>
    </p:spTree>
    <p:extLst>
      <p:ext uri="{BB962C8B-B14F-4D97-AF65-F5344CB8AC3E}">
        <p14:creationId xmlns:p14="http://schemas.microsoft.com/office/powerpoint/2010/main" val="543404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73634D28-3219-E941-92E0-F52DC949C6E6}" type="datetime1">
              <a:rPr lang="nb-NO" smtClean="0">
                <a:solidFill>
                  <a:prstClr val="black"/>
                </a:solidFill>
              </a:rPr>
              <a:pPr/>
              <a:t>30.11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8722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lide_Introduk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7707412" y="1634464"/>
            <a:ext cx="4246524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56476" y="327262"/>
            <a:ext cx="11697460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introduksjon til &lt;tema&gt;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4" hasCustomPrompt="1"/>
          </p:nvPr>
        </p:nvSpPr>
        <p:spPr>
          <a:xfrm>
            <a:off x="257907" y="1634464"/>
            <a:ext cx="6961205" cy="360000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for å skrive inn overskrift for hva er &lt;tema&gt;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57909" y="5805264"/>
            <a:ext cx="6961204" cy="647924"/>
          </a:xfrm>
        </p:spPr>
        <p:txBody>
          <a:bodyPr anchor="b"/>
          <a:lstStyle>
            <a:lvl1pPr>
              <a:defRPr b="0">
                <a:solidFill>
                  <a:srgbClr val="3A7EC0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56476" y="1994464"/>
            <a:ext cx="6962636" cy="1434808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57907" y="943271"/>
            <a:ext cx="11696028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7868505" y="2080594"/>
            <a:ext cx="3911234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7862185" y="4136587"/>
            <a:ext cx="3890635" cy="1430337"/>
          </a:xfr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57909" y="3565249"/>
            <a:ext cx="6961204" cy="360000"/>
          </a:xfrm>
        </p:spPr>
        <p:txBody>
          <a:bodyPr>
            <a:noAutofit/>
          </a:bodyPr>
          <a:lstStyle>
            <a:lvl1pPr>
              <a:defRPr b="1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for å skrive inn hvordan utarbeides &lt;tema&gt;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256476" y="3925249"/>
            <a:ext cx="6962636" cy="15019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beskrivelse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7880470" y="1759948"/>
            <a:ext cx="3911234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7860483" y="3755954"/>
            <a:ext cx="3911234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109" y="6526438"/>
            <a:ext cx="3030415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709801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slide_Introduk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7707412" y="1634464"/>
            <a:ext cx="4246524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56476" y="327262"/>
            <a:ext cx="11697460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introduksjon til &lt;tema&gt;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57909" y="5805264"/>
            <a:ext cx="6961204" cy="647924"/>
          </a:xfrm>
        </p:spPr>
        <p:txBody>
          <a:bodyPr anchor="b"/>
          <a:lstStyle>
            <a:lvl1pPr>
              <a:defRPr b="0">
                <a:solidFill>
                  <a:srgbClr val="3A7EC0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56476" y="1634463"/>
            <a:ext cx="6962636" cy="3932459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57907" y="943271"/>
            <a:ext cx="11696028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7868505" y="2080594"/>
            <a:ext cx="3911234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7880470" y="1759948"/>
            <a:ext cx="3911234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109" y="6526438"/>
            <a:ext cx="3030415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72302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slide_Introduk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7707412" y="1634464"/>
            <a:ext cx="4246524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56476" y="327262"/>
            <a:ext cx="11697460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introduksjon til &lt;tema&gt;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57909" y="5805264"/>
            <a:ext cx="6961204" cy="647924"/>
          </a:xfrm>
        </p:spPr>
        <p:txBody>
          <a:bodyPr anchor="b"/>
          <a:lstStyle>
            <a:lvl1pPr>
              <a:defRPr b="0">
                <a:solidFill>
                  <a:srgbClr val="3A7EC0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56476" y="1634463"/>
            <a:ext cx="6962636" cy="3932459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57907" y="943271"/>
            <a:ext cx="11696028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7868505" y="2080594"/>
            <a:ext cx="3911234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7862185" y="4136587"/>
            <a:ext cx="3890635" cy="1430337"/>
          </a:xfr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7880470" y="1759948"/>
            <a:ext cx="3911234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7860483" y="3755954"/>
            <a:ext cx="3911234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109" y="6526438"/>
            <a:ext cx="3030415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448210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lide_Introduksjon_2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5148" y="327262"/>
            <a:ext cx="11688788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nb-NO" dirty="0"/>
              <a:t>Klikk for å skrive inn introduksjon til &lt;tema&gt;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4" hasCustomPrompt="1"/>
          </p:nvPr>
        </p:nvSpPr>
        <p:spPr>
          <a:xfrm>
            <a:off x="265149" y="1634462"/>
            <a:ext cx="3315836" cy="570561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55956" y="5613752"/>
            <a:ext cx="6963158" cy="839436"/>
          </a:xfrm>
        </p:spPr>
        <p:txBody>
          <a:bodyPr anchor="b"/>
          <a:lstStyle>
            <a:lvl1pPr>
              <a:defRPr b="0">
                <a:solidFill>
                  <a:schemeClr val="tx2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66580" y="2205024"/>
            <a:ext cx="3323079" cy="3104506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66579" y="943271"/>
            <a:ext cx="11687356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896036" y="1639678"/>
            <a:ext cx="3323077" cy="565346"/>
          </a:xfrm>
        </p:spPr>
        <p:txBody>
          <a:bodyPr>
            <a:noAutofit/>
          </a:bodyPr>
          <a:lstStyle>
            <a:lvl1pPr>
              <a:defRPr b="1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3891530" y="2205024"/>
            <a:ext cx="3323077" cy="3104506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.</a:t>
            </a:r>
          </a:p>
        </p:txBody>
      </p:sp>
      <p:pic>
        <p:nvPicPr>
          <p:cNvPr id="14" name="Picture 13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7707412" y="1634464"/>
            <a:ext cx="4246524" cy="5066998"/>
          </a:xfrm>
          <a:prstGeom prst="rect">
            <a:avLst/>
          </a:prstGeom>
        </p:spPr>
      </p:pic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7868505" y="2080594"/>
            <a:ext cx="3911234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7862185" y="4136587"/>
            <a:ext cx="3890635" cy="1956239"/>
          </a:xfr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7880470" y="1759948"/>
            <a:ext cx="3911234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7860483" y="3755954"/>
            <a:ext cx="3911234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109" y="6526438"/>
            <a:ext cx="3030415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42873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lide_st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7707412" y="1634464"/>
            <a:ext cx="4246524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5151" y="327262"/>
            <a:ext cx="11688785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nb-NO" dirty="0"/>
              <a:t>Klikk for å skrive inn introduksjon til &lt;tema&gt;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57908" y="1628774"/>
            <a:ext cx="6956699" cy="5040586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stegen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66581" y="943271"/>
            <a:ext cx="11687354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7868505" y="2080594"/>
            <a:ext cx="3911234" cy="1564430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7868504" y="4149080"/>
            <a:ext cx="3899511" cy="1955800"/>
          </a:xfrm>
          <a:solidFill>
            <a:srgbClr val="DCDE44"/>
          </a:solidFill>
        </p:spPr>
        <p:txBody>
          <a:bodyPr/>
          <a:lstStyle>
            <a:lvl1pPr>
              <a:defRPr/>
            </a:lvl1pPr>
          </a:lstStyle>
          <a:p>
            <a:r>
              <a:rPr lang="nb-NO" dirty="0"/>
              <a:t>.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7880470" y="1759948"/>
            <a:ext cx="3911234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7856782" y="3784319"/>
            <a:ext cx="3911234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109" y="6526438"/>
            <a:ext cx="3030415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390028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+tekst_horisonta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7707412" y="1634464"/>
            <a:ext cx="4246524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57909" y="327262"/>
            <a:ext cx="11696027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tittel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57909" y="943271"/>
            <a:ext cx="11696027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7868505" y="1772815"/>
            <a:ext cx="3911234" cy="468037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b="0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257908" y="1635124"/>
            <a:ext cx="6956699" cy="5034236"/>
          </a:xfrm>
          <a:solidFill>
            <a:srgbClr val="DCDE44"/>
          </a:solidFill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404976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+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2" hasCustomPrompt="1"/>
          </p:nvPr>
        </p:nvSpPr>
        <p:spPr>
          <a:xfrm>
            <a:off x="257908" y="1635124"/>
            <a:ext cx="11696028" cy="5033964"/>
          </a:xfrm>
          <a:solidFill>
            <a:srgbClr val="DCDE44"/>
          </a:solidFill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på ikon for å sette inn bilde som viser kontekst / workshop, hvis nødvendig</a:t>
            </a:r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57909" y="341780"/>
            <a:ext cx="11696027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tittel</a:t>
            </a:r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57909" y="943271"/>
            <a:ext cx="11696027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105385149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+tekst_vertik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71917" y="327262"/>
            <a:ext cx="11699631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tittel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57907" y="943271"/>
            <a:ext cx="11713641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271917" y="1635126"/>
            <a:ext cx="11699631" cy="94669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b="0"/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skrive</a:t>
            </a:r>
            <a:r>
              <a:rPr lang="en-US" dirty="0"/>
              <a:t> inn </a:t>
            </a:r>
            <a:r>
              <a:rPr lang="en-US" dirty="0" err="1"/>
              <a:t>tekst</a:t>
            </a:r>
            <a:endParaRPr lang="nb-NO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271917" y="2719614"/>
            <a:ext cx="11699631" cy="2941635"/>
          </a:xfrm>
          <a:solidFill>
            <a:srgbClr val="DCDE44"/>
          </a:solidFill>
        </p:spPr>
        <p:txBody>
          <a:bodyPr/>
          <a:lstStyle>
            <a:lvl1pPr>
              <a:defRPr baseline="0"/>
            </a:lvl1pPr>
          </a:lstStyle>
          <a:p>
            <a:r>
              <a:rPr lang="nb-NO" dirty="0"/>
              <a:t>Klikk på ikonet for å sette inn bilde</a:t>
            </a:r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15" hasCustomPrompt="1"/>
          </p:nvPr>
        </p:nvSpPr>
        <p:spPr>
          <a:xfrm>
            <a:off x="443819" y="5913360"/>
            <a:ext cx="3544615" cy="756000"/>
          </a:xfrm>
        </p:spPr>
        <p:txBody>
          <a:bodyPr>
            <a:noAutofit/>
          </a:bodyPr>
          <a:lstStyle>
            <a:lvl1pPr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her for å skrive inn tittel og hvordan utarbeides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4345000" y="5913360"/>
            <a:ext cx="3544615" cy="756000"/>
          </a:xfrm>
        </p:spPr>
        <p:txBody>
          <a:bodyPr>
            <a:noAutofit/>
          </a:bodyPr>
          <a:lstStyle>
            <a:lvl1pPr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her for å skrive inn tittel og hvordan utarbeides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8246180" y="5913360"/>
            <a:ext cx="3544615" cy="756000"/>
          </a:xfrm>
        </p:spPr>
        <p:txBody>
          <a:bodyPr>
            <a:noAutofit/>
          </a:bodyPr>
          <a:lstStyle>
            <a:lvl1pPr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her for å skrive inn tittel og hvordan utarbeides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109" y="6526438"/>
            <a:ext cx="3030415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07482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257909" y="188913"/>
            <a:ext cx="11687906" cy="6480176"/>
          </a:xfrm>
          <a:solidFill>
            <a:srgbClr val="DCDE44"/>
          </a:solidFill>
        </p:spPr>
        <p:txBody>
          <a:bodyPr/>
          <a:lstStyle>
            <a:lvl1pPr>
              <a:defRPr/>
            </a:lvl1pPr>
          </a:lstStyle>
          <a:p>
            <a:r>
              <a:rPr lang="nb-NO" dirty="0"/>
              <a:t>Klikk på ikon for å sette inn bilde</a:t>
            </a:r>
          </a:p>
        </p:txBody>
      </p:sp>
    </p:spTree>
    <p:extLst>
      <p:ext uri="{BB962C8B-B14F-4D97-AF65-F5344CB8AC3E}">
        <p14:creationId xmlns:p14="http://schemas.microsoft.com/office/powerpoint/2010/main" val="4199748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2"/>
          <a:stretch/>
        </p:blipFill>
        <p:spPr>
          <a:xfrm>
            <a:off x="245371" y="188640"/>
            <a:ext cx="11699894" cy="5400601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2158887" y="4330000"/>
            <a:ext cx="8073076" cy="937504"/>
          </a:xfrm>
          <a:prstGeom prst="rect">
            <a:avLst/>
          </a:prstGeom>
          <a:noFill/>
        </p:spPr>
        <p:txBody>
          <a:bodyPr wrap="square" lIns="75416" tIns="75416" rIns="75416" bIns="75416" rtlCol="0">
            <a:noAutofit/>
          </a:bodyPr>
          <a:lstStyle/>
          <a:p>
            <a:pPr algn="l"/>
            <a:endParaRPr lang="nb-NO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23303" y="367266"/>
            <a:ext cx="11344031" cy="2125630"/>
          </a:xfrm>
        </p:spPr>
        <p:txBody>
          <a:bodyPr anchor="b">
            <a:normAutofit/>
          </a:bodyPr>
          <a:lstStyle>
            <a:lvl1pPr>
              <a:defRPr sz="28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/>
              <a:t>Klikk for å skrive inn avslutning</a:t>
            </a:r>
          </a:p>
        </p:txBody>
      </p:sp>
      <p:pic>
        <p:nvPicPr>
          <p:cNvPr id="10" name="Picture 9" descr="temptlogo_aho.png"/>
          <p:cNvPicPr>
            <a:picLocks noChangeAspect="1"/>
          </p:cNvPicPr>
          <p:nvPr userDrawn="1"/>
        </p:nvPicPr>
        <p:blipFill>
          <a:blip r:embed="rId3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109" y="5915730"/>
            <a:ext cx="8449258" cy="609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0268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839200" y="274643"/>
            <a:ext cx="2743200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43"/>
            <a:ext cx="8026400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29D1D2B5-0901-D345-8691-F4D34AE88383}" type="datetime1">
              <a:rPr lang="nb-NO" smtClean="0">
                <a:solidFill>
                  <a:prstClr val="black"/>
                </a:solidFill>
              </a:rPr>
              <a:pPr/>
              <a:t>30.11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9732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2314958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0" y="99706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0" y="4524493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0" y="6741368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flipV="1">
            <a:off x="2559946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flipV="1">
            <a:off x="4907316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 flipV="1">
            <a:off x="7254686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flipV="1">
            <a:off x="9602055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 flipV="1">
            <a:off x="11949424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 flipV="1">
            <a:off x="212576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 userDrawn="1"/>
        </p:nvSpPr>
        <p:spPr>
          <a:xfrm>
            <a:off x="158110" y="72008"/>
            <a:ext cx="11875780" cy="666936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419891953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357307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ilde+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2" hasCustomPrompt="1"/>
          </p:nvPr>
        </p:nvSpPr>
        <p:spPr>
          <a:xfrm>
            <a:off x="257908" y="1181100"/>
            <a:ext cx="11696028" cy="5487988"/>
          </a:xfrm>
          <a:solidFill>
            <a:srgbClr val="DCDE44"/>
          </a:solidFill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på ikon for å sette inn bilde som viser kontekst / workshop, hvis nødvendig</a:t>
            </a:r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57909" y="341780"/>
            <a:ext cx="11696027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tittel</a:t>
            </a:r>
          </a:p>
        </p:txBody>
      </p:sp>
    </p:spTree>
    <p:extLst>
      <p:ext uri="{BB962C8B-B14F-4D97-AF65-F5344CB8AC3E}">
        <p14:creationId xmlns:p14="http://schemas.microsoft.com/office/powerpoint/2010/main" val="379815619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6185" y="206448"/>
            <a:ext cx="11699081" cy="545480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2158887" y="4330000"/>
            <a:ext cx="8073076" cy="937504"/>
          </a:xfrm>
          <a:prstGeom prst="rect">
            <a:avLst/>
          </a:prstGeom>
          <a:noFill/>
        </p:spPr>
        <p:txBody>
          <a:bodyPr wrap="square" lIns="75416" tIns="75416" rIns="75416" bIns="75416" rtlCol="0">
            <a:noAutofit/>
          </a:bodyPr>
          <a:lstStyle/>
          <a:p>
            <a:pPr algn="l"/>
            <a:endParaRPr lang="nb-NO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grpSp>
        <p:nvGrpSpPr>
          <p:cNvPr id="11" name="Group 2"/>
          <p:cNvGrpSpPr/>
          <p:nvPr userDrawn="1"/>
        </p:nvGrpSpPr>
        <p:grpSpPr>
          <a:xfrm>
            <a:off x="423985" y="6012302"/>
            <a:ext cx="5083247" cy="748703"/>
            <a:chOff x="291353" y="5721294"/>
            <a:chExt cx="4130138" cy="748703"/>
          </a:xfrm>
        </p:grpSpPr>
        <p:pic>
          <p:nvPicPr>
            <p:cNvPr id="12" name="Picture 2" descr="\\10.65.9.150\ds1\RRU\JOBS\LIBRARY\DSP02000 - DSP02099\DSP02001 Admin Logo Brand Update\logo files wip\NEW PA LOGO\New PA Logo 2-17 x 2-36.emf"/>
            <p:cNvPicPr>
              <a:picLocks noChangeAspect="1" noChangeArrowheads="1"/>
            </p:cNvPicPr>
            <p:nvPr/>
          </p:nvPicPr>
          <p:blipFill>
            <a:blip r:embed="rId3" cstate="screen">
              <a:biLevel thresh="50000"/>
              <a:alphaModFix amt="29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1353" y="5836872"/>
              <a:ext cx="563012" cy="493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6" descr="aho_logo_cmyk.eps"/>
            <p:cNvPicPr>
              <a:picLocks noChangeAspect="1"/>
            </p:cNvPicPr>
            <p:nvPr/>
          </p:nvPicPr>
          <p:blipFill>
            <a:blip r:embed="rId4">
              <a:grayscl/>
              <a:alphaModFix amt="76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69967" y="5721294"/>
              <a:ext cx="1851524" cy="748703"/>
            </a:xfrm>
            <a:prstGeom prst="rect">
              <a:avLst/>
            </a:prstGeom>
          </p:spPr>
        </p:pic>
        <p:pic>
          <p:nvPicPr>
            <p:cNvPr id="14" name="Picture 12" descr="MW_logo_Black.eps"/>
            <p:cNvPicPr>
              <a:picLocks noChangeAspect="1"/>
            </p:cNvPicPr>
            <p:nvPr/>
          </p:nvPicPr>
          <p:blipFill>
            <a:blip r:embed="rId5" cstate="screen">
              <a:alphaModFix amt="33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75287" y="5847518"/>
              <a:ext cx="583807" cy="529685"/>
            </a:xfrm>
            <a:prstGeom prst="rect">
              <a:avLst/>
            </a:prstGeom>
          </p:spPr>
        </p:pic>
      </p:grpSp>
      <p:sp>
        <p:nvSpPr>
          <p:cNvPr id="15" name="TextBox 14"/>
          <p:cNvSpPr txBox="1"/>
          <p:nvPr userDrawn="1"/>
        </p:nvSpPr>
        <p:spPr>
          <a:xfrm>
            <a:off x="423985" y="2292449"/>
            <a:ext cx="11344031" cy="463607"/>
          </a:xfrm>
          <a:prstGeom prst="rect">
            <a:avLst/>
          </a:prstGeom>
          <a:noFill/>
          <a:effectLst/>
        </p:spPr>
        <p:txBody>
          <a:bodyPr wrap="square" lIns="36000" tIns="36000" rIns="36000" bIns="108000" rtlCol="0">
            <a:noAutofit/>
          </a:bodyPr>
          <a:lstStyle>
            <a:defPPr>
              <a:defRPr lang="en-US"/>
            </a:defPPr>
            <a:lvl1pPr marL="0" indent="0">
              <a:spcBef>
                <a:spcPct val="20000"/>
              </a:spcBef>
              <a:defRPr sz="60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algn="l"/>
            <a:r>
              <a:rPr lang="nb-NO" sz="2800" b="0" dirty="0">
                <a:solidFill>
                  <a:schemeClr val="tx1"/>
                </a:solidFill>
              </a:rPr>
              <a:t>Veikart for tjenesteinnovasjon</a:t>
            </a:r>
            <a:endParaRPr lang="nb-NO" sz="2000" b="0" dirty="0">
              <a:solidFill>
                <a:schemeClr val="tx1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12611" y="2773363"/>
            <a:ext cx="8199932" cy="432000"/>
          </a:xfrm>
        </p:spPr>
        <p:txBody>
          <a:bodyPr wrap="square" lIns="36000" tIns="36000" rIns="36000" bIns="36000">
            <a:norm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&lt;</a:t>
            </a:r>
            <a:r>
              <a:rPr lang="en-US" dirty="0" err="1"/>
              <a:t>Klikk</a:t>
            </a:r>
            <a:r>
              <a:rPr lang="en-US" dirty="0"/>
              <a:t> for </a:t>
            </a:r>
            <a:r>
              <a:rPr lang="en-US" dirty="0" err="1"/>
              <a:t>å</a:t>
            </a:r>
            <a:r>
              <a:rPr lang="en-US" dirty="0"/>
              <a:t> </a:t>
            </a:r>
            <a:r>
              <a:rPr lang="en-US" dirty="0" err="1"/>
              <a:t>legge</a:t>
            </a:r>
            <a:r>
              <a:rPr lang="en-US" dirty="0"/>
              <a:t> inn </a:t>
            </a:r>
            <a:r>
              <a:rPr lang="en-US" dirty="0" err="1"/>
              <a:t>navn</a:t>
            </a:r>
            <a:r>
              <a:rPr lang="en-US" dirty="0"/>
              <a:t>&lt;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9020633" y="5911388"/>
            <a:ext cx="3013258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/>
            <a:r>
              <a:rPr lang="nb-NO" sz="1050" kern="0" spc="19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V1.0  JULI 2015</a:t>
            </a:r>
          </a:p>
        </p:txBody>
      </p:sp>
    </p:spTree>
    <p:extLst>
      <p:ext uri="{BB962C8B-B14F-4D97-AF65-F5344CB8AC3E}">
        <p14:creationId xmlns:p14="http://schemas.microsoft.com/office/powerpoint/2010/main" val="270351911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258645" y="327263"/>
            <a:ext cx="6544649" cy="554269"/>
          </a:xfrm>
          <a:prstGeom prst="rect">
            <a:avLst/>
          </a:prstGeom>
          <a:noFill/>
        </p:spPr>
        <p:txBody>
          <a:bodyPr wrap="square" lIns="71990" tIns="71990" rIns="71990" bIns="71990" rtlCol="0">
            <a:noAutofit/>
          </a:bodyPr>
          <a:lstStyle/>
          <a:p>
            <a:pPr algn="l"/>
            <a:r>
              <a:rPr lang="nb-NO" sz="2800" dirty="0">
                <a:solidFill>
                  <a:schemeClr val="tx2"/>
                </a:solidFill>
                <a:latin typeface="Arial"/>
                <a:cs typeface="Arial"/>
              </a:rPr>
              <a:t>Innholdsfortegnelse</a:t>
            </a:r>
          </a:p>
          <a:p>
            <a:pPr algn="l"/>
            <a:r>
              <a:rPr lang="nb-NO" sz="2800" dirty="0">
                <a:solidFill>
                  <a:schemeClr val="tx2"/>
                </a:solidFill>
                <a:latin typeface="Arial"/>
                <a:cs typeface="Arial"/>
              </a:rPr>
              <a:t>   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58646" y="1310351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>
                <a:solidFill>
                  <a:srgbClr val="3A7E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953479" y="1310351"/>
            <a:ext cx="6216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>
                <a:solidFill>
                  <a:srgbClr val="3A7E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a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57908" y="1779071"/>
            <a:ext cx="6961205" cy="4313754"/>
          </a:xfrm>
        </p:spPr>
        <p:txBody>
          <a:bodyPr>
            <a:noAutofit/>
          </a:bodyPr>
          <a:lstStyle>
            <a:lvl1pPr>
              <a:tabLst>
                <a:tab pos="536575" algn="l"/>
              </a:tabLst>
              <a:defRPr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legge</a:t>
            </a:r>
            <a:r>
              <a:rPr lang="en-US" dirty="0"/>
              <a:t> inn </a:t>
            </a:r>
            <a:r>
              <a:rPr lang="en-US" dirty="0" err="1"/>
              <a:t>sidenumm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kapittel</a:t>
            </a:r>
            <a:r>
              <a:rPr lang="en-US" dirty="0"/>
              <a:t>. </a:t>
            </a:r>
            <a:r>
              <a:rPr lang="en-US" dirty="0" err="1"/>
              <a:t>Bruk</a:t>
            </a:r>
            <a:r>
              <a:rPr lang="en-US" dirty="0"/>
              <a:t> tab </a:t>
            </a:r>
            <a:r>
              <a:rPr lang="en-US" dirty="0" err="1"/>
              <a:t>etter</a:t>
            </a:r>
            <a:r>
              <a:rPr lang="en-US" dirty="0"/>
              <a:t> </a:t>
            </a:r>
            <a:r>
              <a:rPr lang="en-US" dirty="0" err="1"/>
              <a:t>sidenummer</a:t>
            </a:r>
            <a:endParaRPr lang="en-US" dirty="0"/>
          </a:p>
          <a:p>
            <a:pPr lvl="0"/>
            <a:r>
              <a:rPr lang="en-US" dirty="0"/>
              <a:t>	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244233" y="1634133"/>
            <a:ext cx="6974880" cy="0"/>
          </a:xfrm>
          <a:prstGeom prst="line">
            <a:avLst/>
          </a:prstGeom>
          <a:ln w="12700">
            <a:solidFill>
              <a:srgbClr val="9BA5A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" name="Picture 19" descr="HIMMEL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7707412" y="1634464"/>
            <a:ext cx="4246524" cy="5066998"/>
          </a:xfrm>
          <a:prstGeom prst="rect">
            <a:avLst/>
          </a:prstGeom>
        </p:spPr>
      </p:pic>
      <p:sp>
        <p:nvSpPr>
          <p:cNvPr id="2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7868505" y="2080594"/>
            <a:ext cx="3911234" cy="2356517"/>
          </a:xfr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>
                <a:solidFill>
                  <a:srgbClr val="2E69B3"/>
                </a:solidFill>
              </a:defRPr>
            </a:lvl1pPr>
          </a:lstStyle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nb-NO" sz="14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Veikart for tjenesteinnovasjon er en praktisk metodikk som setter kommunene i stand til å endre offentlige tjenester for å møte fremtiden. </a:t>
            </a:r>
          </a:p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nb-NO" sz="14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For å få tilgang til hele metodikken for tjenesteinnovasjon kan du gå til </a:t>
            </a:r>
            <a:r>
              <a:rPr lang="nb-NO" sz="1400" b="1" dirty="0">
                <a:solidFill>
                  <a:srgbClr val="FF0000"/>
                </a:solidFill>
                <a:latin typeface="Arial"/>
                <a:ea typeface="Calibri"/>
                <a:cs typeface="Arial"/>
              </a:rPr>
              <a:t>www.ks.no/samveis</a:t>
            </a:r>
            <a:endParaRPr lang="nb-NO" sz="1400" dirty="0">
              <a:solidFill>
                <a:srgbClr val="FF0000"/>
              </a:solidFill>
              <a:latin typeface="Arial"/>
              <a:ea typeface="Calibri"/>
              <a:cs typeface="Arial"/>
            </a:endParaRPr>
          </a:p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nb-NO" sz="14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Dette dokumentet er et av verktøyene i metodikken, og du finner det referert til i</a:t>
            </a:r>
            <a:endParaRPr lang="nb-NO" sz="1400" b="1" dirty="0">
              <a:solidFill>
                <a:schemeClr val="tx1"/>
              </a:solidFill>
              <a:latin typeface="Arial"/>
              <a:ea typeface="Calibri"/>
              <a:cs typeface="Arial"/>
            </a:endParaRP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7880470" y="1628800"/>
            <a:ext cx="3911234" cy="33520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marL="0" indent="0">
              <a:buNone/>
            </a:pPr>
            <a:r>
              <a:rPr lang="nb-NO" sz="1400" b="1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OM VEIKART FOR TJENESTEINNOVASJON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7856782" y="4437112"/>
            <a:ext cx="3911234" cy="24120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[</a:t>
            </a:r>
            <a:r>
              <a:rPr lang="en-US" dirty="0" err="1"/>
              <a:t>Fase</a:t>
            </a:r>
            <a:r>
              <a:rPr lang="en-US" dirty="0"/>
              <a:t> </a:t>
            </a:r>
            <a:r>
              <a:rPr lang="en-US" dirty="0" err="1"/>
              <a:t>nr</a:t>
            </a:r>
            <a:r>
              <a:rPr lang="en-US" dirty="0"/>
              <a:t>, </a:t>
            </a:r>
            <a:r>
              <a:rPr lang="en-US" dirty="0" err="1"/>
              <a:t>Fasenavn</a:t>
            </a:r>
            <a:r>
              <a:rPr lang="en-US" dirty="0"/>
              <a:t>.]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109" y="6526438"/>
            <a:ext cx="3030415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nb-NO" dirty="0">
                <a:solidFill>
                  <a:prstClr val="black">
                    <a:tint val="75000"/>
                  </a:prstClr>
                </a:solidFill>
              </a:rPr>
              <a:t> </a:t>
            </a:r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6782" y="4718537"/>
            <a:ext cx="3913188" cy="1802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504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580">
          <p15:clr>
            <a:srgbClr val="FBAE40"/>
          </p15:clr>
        </p15:guide>
        <p15:guide id="3" pos="3846">
          <p15:clr>
            <a:srgbClr val="FBAE40"/>
          </p15:clr>
        </p15:guide>
        <p15:guide id="4" pos="1578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845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05"/>
          <a:stretch/>
        </p:blipFill>
        <p:spPr>
          <a:xfrm>
            <a:off x="245371" y="188640"/>
            <a:ext cx="11699894" cy="648044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2158887" y="4330000"/>
            <a:ext cx="8073076" cy="937504"/>
          </a:xfrm>
          <a:prstGeom prst="rect">
            <a:avLst/>
          </a:prstGeom>
          <a:noFill/>
        </p:spPr>
        <p:txBody>
          <a:bodyPr wrap="square" lIns="75416" tIns="75416" rIns="75416" bIns="75416" rtlCol="0">
            <a:noAutofit/>
          </a:bodyPr>
          <a:lstStyle/>
          <a:p>
            <a:pPr algn="l"/>
            <a:endParaRPr lang="nb-NO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42653" y="1628776"/>
            <a:ext cx="11344031" cy="1803722"/>
          </a:xfrm>
        </p:spPr>
        <p:txBody>
          <a:bodyPr anchor="b">
            <a:normAutofit/>
          </a:bodyPr>
          <a:lstStyle>
            <a:lvl1pPr>
              <a:defRPr sz="2800" b="0" baseline="0">
                <a:solidFill>
                  <a:srgbClr val="3A7EC0"/>
                </a:solidFill>
              </a:defRPr>
            </a:lvl1pPr>
          </a:lstStyle>
          <a:p>
            <a:pPr lvl="0"/>
            <a:r>
              <a:rPr lang="nb-NO" dirty="0"/>
              <a:t>Klikk for å skrive inn navn på kapittel</a:t>
            </a:r>
          </a:p>
        </p:txBody>
      </p:sp>
    </p:spTree>
    <p:extLst>
      <p:ext uri="{BB962C8B-B14F-4D97-AF65-F5344CB8AC3E}">
        <p14:creationId xmlns:p14="http://schemas.microsoft.com/office/powerpoint/2010/main" val="406948929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lide_Introduk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7707412" y="1634464"/>
            <a:ext cx="4246524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56476" y="327262"/>
            <a:ext cx="11697460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introduksjon til &lt;tema&gt;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4" hasCustomPrompt="1"/>
          </p:nvPr>
        </p:nvSpPr>
        <p:spPr>
          <a:xfrm>
            <a:off x="257907" y="1634464"/>
            <a:ext cx="6961205" cy="360000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for å skrive inn overskrift for hva er &lt;tema&gt;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57909" y="5805264"/>
            <a:ext cx="6961204" cy="647924"/>
          </a:xfrm>
        </p:spPr>
        <p:txBody>
          <a:bodyPr anchor="b"/>
          <a:lstStyle>
            <a:lvl1pPr>
              <a:defRPr b="0">
                <a:solidFill>
                  <a:srgbClr val="3A7EC0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56476" y="1994464"/>
            <a:ext cx="6962636" cy="1434808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57907" y="943271"/>
            <a:ext cx="11696028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for å skrive inn evt. undertitt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7868505" y="2080594"/>
            <a:ext cx="3911234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skrive</a:t>
            </a:r>
            <a:r>
              <a:rPr lang="en-US" dirty="0"/>
              <a:t> inn </a:t>
            </a:r>
            <a:r>
              <a:rPr lang="en-US" dirty="0" err="1"/>
              <a:t>beskrivelse</a:t>
            </a:r>
            <a:r>
              <a:rPr lang="en-US" dirty="0"/>
              <a:t> </a:t>
            </a:r>
            <a:r>
              <a:rPr lang="en-US" dirty="0" err="1"/>
              <a:t>av</a:t>
            </a:r>
            <a:r>
              <a:rPr lang="en-US" dirty="0"/>
              <a:t> </a:t>
            </a:r>
            <a:r>
              <a:rPr lang="en-US" dirty="0" err="1"/>
              <a:t>når</a:t>
            </a:r>
            <a:r>
              <a:rPr lang="en-US" dirty="0"/>
              <a:t> </a:t>
            </a:r>
            <a:r>
              <a:rPr lang="en-US" dirty="0" err="1"/>
              <a:t>det</a:t>
            </a:r>
            <a:r>
              <a:rPr lang="en-US" dirty="0"/>
              <a:t> </a:t>
            </a:r>
            <a:r>
              <a:rPr lang="en-US" dirty="0" err="1"/>
              <a:t>utarbeides</a:t>
            </a:r>
            <a:endParaRPr lang="nb-NO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7862185" y="4136587"/>
            <a:ext cx="3890635" cy="1430337"/>
          </a:xfr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skrive</a:t>
            </a:r>
            <a:r>
              <a:rPr lang="en-US" dirty="0"/>
              <a:t> inn roller</a:t>
            </a:r>
            <a:endParaRPr lang="nb-NO" dirty="0"/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57909" y="3565249"/>
            <a:ext cx="6961204" cy="360000"/>
          </a:xfrm>
        </p:spPr>
        <p:txBody>
          <a:bodyPr>
            <a:noAutofit/>
          </a:bodyPr>
          <a:lstStyle>
            <a:lvl1pPr>
              <a:defRPr b="1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for å skrive inn hvordan utarbeides &lt;tema&gt;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256476" y="3925249"/>
            <a:ext cx="6962636" cy="15019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beskrivelse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7880470" y="1759948"/>
            <a:ext cx="3911234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skrive</a:t>
            </a:r>
            <a:r>
              <a:rPr lang="en-US" dirty="0"/>
              <a:t> inn </a:t>
            </a:r>
            <a:r>
              <a:rPr lang="en-US" dirty="0" err="1"/>
              <a:t>overskift</a:t>
            </a:r>
            <a:endParaRPr lang="nb-NO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7860483" y="3755954"/>
            <a:ext cx="3911234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skrive</a:t>
            </a:r>
            <a:r>
              <a:rPr lang="en-US" dirty="0"/>
              <a:t> inn </a:t>
            </a:r>
            <a:r>
              <a:rPr lang="en-US" dirty="0" err="1"/>
              <a:t>overskift</a:t>
            </a:r>
            <a:endParaRPr lang="nb-NO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109" y="6526438"/>
            <a:ext cx="3030415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nb-NO" dirty="0">
                <a:solidFill>
                  <a:prstClr val="black">
                    <a:tint val="75000"/>
                  </a:prst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710360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lide_Introduksjon_2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5148" y="327262"/>
            <a:ext cx="11688788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nb-NO" dirty="0"/>
              <a:t>Klikk for å skrive inn introduksjon til &lt;tema&gt;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4" hasCustomPrompt="1"/>
          </p:nvPr>
        </p:nvSpPr>
        <p:spPr>
          <a:xfrm>
            <a:off x="265149" y="1634462"/>
            <a:ext cx="3315836" cy="570561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for å skrive inn overskrift for hva er &lt;tema&gt;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55956" y="5613752"/>
            <a:ext cx="6963158" cy="839436"/>
          </a:xfrm>
        </p:spPr>
        <p:txBody>
          <a:bodyPr anchor="b"/>
          <a:lstStyle>
            <a:lvl1pPr>
              <a:defRPr b="0">
                <a:solidFill>
                  <a:schemeClr val="tx2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66580" y="2205024"/>
            <a:ext cx="3323079" cy="3104506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66579" y="943271"/>
            <a:ext cx="11687356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for å skrive inn evt. undertittel</a:t>
            </a:r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896036" y="1639678"/>
            <a:ext cx="3323077" cy="565346"/>
          </a:xfrm>
        </p:spPr>
        <p:txBody>
          <a:bodyPr>
            <a:noAutofit/>
          </a:bodyPr>
          <a:lstStyle>
            <a:lvl1pPr>
              <a:defRPr b="1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for å skrive inn hvordan utarbeides &lt;tema&gt;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3891530" y="2205024"/>
            <a:ext cx="3323077" cy="3104506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beskrivelse</a:t>
            </a:r>
          </a:p>
        </p:txBody>
      </p:sp>
      <p:pic>
        <p:nvPicPr>
          <p:cNvPr id="14" name="Picture 13" descr="HIMMEL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7707412" y="1634464"/>
            <a:ext cx="4246524" cy="5066998"/>
          </a:xfrm>
          <a:prstGeom prst="rect">
            <a:avLst/>
          </a:prstGeom>
        </p:spPr>
      </p:pic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7868505" y="2080594"/>
            <a:ext cx="3911234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skrive</a:t>
            </a:r>
            <a:r>
              <a:rPr lang="en-US" dirty="0"/>
              <a:t> inn </a:t>
            </a:r>
            <a:r>
              <a:rPr lang="en-US" dirty="0" err="1"/>
              <a:t>beskrivelse</a:t>
            </a:r>
            <a:r>
              <a:rPr lang="en-US" dirty="0"/>
              <a:t> </a:t>
            </a:r>
            <a:r>
              <a:rPr lang="en-US" dirty="0" err="1"/>
              <a:t>av</a:t>
            </a:r>
            <a:r>
              <a:rPr lang="en-US" dirty="0"/>
              <a:t> </a:t>
            </a:r>
            <a:r>
              <a:rPr lang="en-US" dirty="0" err="1"/>
              <a:t>når</a:t>
            </a:r>
            <a:r>
              <a:rPr lang="en-US" dirty="0"/>
              <a:t> </a:t>
            </a:r>
            <a:r>
              <a:rPr lang="en-US" dirty="0" err="1"/>
              <a:t>det</a:t>
            </a:r>
            <a:r>
              <a:rPr lang="en-US" dirty="0"/>
              <a:t> </a:t>
            </a:r>
            <a:r>
              <a:rPr lang="en-US" dirty="0" err="1"/>
              <a:t>utarbeides</a:t>
            </a:r>
            <a:endParaRPr lang="nb-NO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7862185" y="4136587"/>
            <a:ext cx="3890635" cy="1956239"/>
          </a:xfr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skrive</a:t>
            </a:r>
            <a:r>
              <a:rPr lang="en-US" dirty="0"/>
              <a:t> inn roller</a:t>
            </a:r>
            <a:endParaRPr lang="nb-NO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7880470" y="1759948"/>
            <a:ext cx="3911234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skrive</a:t>
            </a:r>
            <a:r>
              <a:rPr lang="en-US" dirty="0"/>
              <a:t> inn </a:t>
            </a:r>
            <a:r>
              <a:rPr lang="en-US" dirty="0" err="1"/>
              <a:t>overskift</a:t>
            </a:r>
            <a:endParaRPr lang="nb-NO" dirty="0"/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7860483" y="3755954"/>
            <a:ext cx="3911234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skrive</a:t>
            </a:r>
            <a:r>
              <a:rPr lang="en-US" dirty="0"/>
              <a:t> inn </a:t>
            </a:r>
            <a:r>
              <a:rPr lang="en-US" dirty="0" err="1"/>
              <a:t>overskift</a:t>
            </a:r>
            <a:endParaRPr lang="nb-NO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109" y="6526438"/>
            <a:ext cx="3030415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nb-NO" dirty="0">
                <a:solidFill>
                  <a:prstClr val="black">
                    <a:tint val="75000"/>
                  </a:prst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31687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lide_st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7707412" y="1634464"/>
            <a:ext cx="4246524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5151" y="327262"/>
            <a:ext cx="11688785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nb-NO" dirty="0"/>
              <a:t>Klikk for å skrive inn introduksjon til &lt;tema&gt;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57908" y="1628774"/>
            <a:ext cx="6956699" cy="5040586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stegen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66581" y="943271"/>
            <a:ext cx="11687354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for å skrive inn evt. undertitt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7868505" y="2080594"/>
            <a:ext cx="3911234" cy="1564430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skrive</a:t>
            </a:r>
            <a:r>
              <a:rPr lang="en-US" dirty="0"/>
              <a:t> inn </a:t>
            </a:r>
            <a:r>
              <a:rPr lang="en-US" dirty="0" err="1"/>
              <a:t>utstyr</a:t>
            </a:r>
            <a:endParaRPr lang="nb-NO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7868504" y="4149080"/>
            <a:ext cx="3899511" cy="1955800"/>
          </a:xfrm>
          <a:solidFill>
            <a:srgbClr val="DCDE44"/>
          </a:solidFill>
        </p:spPr>
        <p:txBody>
          <a:bodyPr/>
          <a:lstStyle>
            <a:lvl1pPr>
              <a:defRPr/>
            </a:lvl1pPr>
          </a:lstStyle>
          <a:p>
            <a:r>
              <a:rPr lang="nb-NO" dirty="0"/>
              <a:t>Klikk på ikonet for å sette inn bilde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7880470" y="1759948"/>
            <a:ext cx="3911234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skrive</a:t>
            </a:r>
            <a:r>
              <a:rPr lang="en-US" dirty="0"/>
              <a:t> inn </a:t>
            </a:r>
            <a:r>
              <a:rPr lang="en-US" dirty="0" err="1"/>
              <a:t>overskift</a:t>
            </a:r>
            <a:endParaRPr lang="nb-NO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7856782" y="3784319"/>
            <a:ext cx="3911234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skrive</a:t>
            </a:r>
            <a:r>
              <a:rPr lang="en-US" dirty="0"/>
              <a:t> inn </a:t>
            </a:r>
            <a:r>
              <a:rPr lang="en-US" dirty="0" err="1"/>
              <a:t>overskift</a:t>
            </a:r>
            <a:endParaRPr lang="nb-NO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109" y="6526438"/>
            <a:ext cx="3030415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nb-NO" dirty="0">
                <a:solidFill>
                  <a:prstClr val="black">
                    <a:tint val="75000"/>
                  </a:prst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044317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+tekst_horis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7707412" y="1634464"/>
            <a:ext cx="4246524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57909" y="327262"/>
            <a:ext cx="11696027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tittel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57909" y="943271"/>
            <a:ext cx="11696027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for å skrive inn evt. undertitt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7868505" y="1772815"/>
            <a:ext cx="3911234" cy="468037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b="0"/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skrive</a:t>
            </a:r>
            <a:r>
              <a:rPr lang="en-US" dirty="0"/>
              <a:t> inn </a:t>
            </a:r>
            <a:r>
              <a:rPr lang="en-US" dirty="0" err="1"/>
              <a:t>tekst</a:t>
            </a:r>
            <a:endParaRPr lang="nb-NO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257908" y="1635124"/>
            <a:ext cx="6956699" cy="5034236"/>
          </a:xfrm>
          <a:solidFill>
            <a:srgbClr val="DCDE44"/>
          </a:solidFill>
        </p:spPr>
        <p:txBody>
          <a:bodyPr/>
          <a:lstStyle>
            <a:lvl1pPr>
              <a:defRPr baseline="0"/>
            </a:lvl1pPr>
          </a:lstStyle>
          <a:p>
            <a:r>
              <a:rPr lang="nb-NO" dirty="0"/>
              <a:t>Klikk på ikonet for å sette inn bilde</a:t>
            </a:r>
          </a:p>
        </p:txBody>
      </p:sp>
    </p:spTree>
    <p:extLst>
      <p:ext uri="{BB962C8B-B14F-4D97-AF65-F5344CB8AC3E}">
        <p14:creationId xmlns:p14="http://schemas.microsoft.com/office/powerpoint/2010/main" val="231891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KS_Tittel mast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64229" y="2196036"/>
            <a:ext cx="9915291" cy="466880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28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664227" y="2794020"/>
            <a:ext cx="8534400" cy="516192"/>
          </a:xfrm>
        </p:spPr>
        <p:txBody>
          <a:bodyPr lIns="0" tIns="0" bIns="0">
            <a:normAutofit/>
          </a:bodyPr>
          <a:lstStyle>
            <a:lvl1pPr marL="0" indent="0" algn="l">
              <a:buNone/>
              <a:defRPr sz="2000" baseline="0">
                <a:solidFill>
                  <a:srgbClr val="FFFFFF"/>
                </a:solidFill>
                <a:latin typeface="Calibri"/>
                <a:cs typeface="Calibri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dirty="0"/>
              <a:t>Navn Etternavn</a:t>
            </a:r>
          </a:p>
        </p:txBody>
      </p:sp>
    </p:spTree>
    <p:extLst>
      <p:ext uri="{BB962C8B-B14F-4D97-AF65-F5344CB8AC3E}">
        <p14:creationId xmlns:p14="http://schemas.microsoft.com/office/powerpoint/2010/main" val="188329262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+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2" hasCustomPrompt="1"/>
          </p:nvPr>
        </p:nvSpPr>
        <p:spPr>
          <a:xfrm>
            <a:off x="257908" y="1181100"/>
            <a:ext cx="11696028" cy="5487988"/>
          </a:xfrm>
          <a:solidFill>
            <a:srgbClr val="DCDE44"/>
          </a:solidFill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på ikon for å sette inn bilde som viser kontekst / workshop, hvis nødvendig</a:t>
            </a:r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57909" y="341780"/>
            <a:ext cx="11696027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tittel</a:t>
            </a:r>
          </a:p>
        </p:txBody>
      </p:sp>
    </p:spTree>
    <p:extLst>
      <p:ext uri="{BB962C8B-B14F-4D97-AF65-F5344CB8AC3E}">
        <p14:creationId xmlns:p14="http://schemas.microsoft.com/office/powerpoint/2010/main" val="420784182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+tekst_vertik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71917" y="327262"/>
            <a:ext cx="11699631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tittel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57907" y="943271"/>
            <a:ext cx="11713641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for å skrive inn evt. undertitt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271917" y="1635126"/>
            <a:ext cx="11699631" cy="94669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b="0"/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skrive</a:t>
            </a:r>
            <a:r>
              <a:rPr lang="en-US" dirty="0"/>
              <a:t> inn </a:t>
            </a:r>
            <a:r>
              <a:rPr lang="en-US" dirty="0" err="1"/>
              <a:t>tekst</a:t>
            </a:r>
            <a:endParaRPr lang="nb-NO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271917" y="2719614"/>
            <a:ext cx="11699631" cy="2941635"/>
          </a:xfrm>
          <a:solidFill>
            <a:srgbClr val="DCDE44"/>
          </a:solidFill>
        </p:spPr>
        <p:txBody>
          <a:bodyPr/>
          <a:lstStyle>
            <a:lvl1pPr>
              <a:defRPr baseline="0"/>
            </a:lvl1pPr>
          </a:lstStyle>
          <a:p>
            <a:r>
              <a:rPr lang="nb-NO" dirty="0"/>
              <a:t>Klikk på ikonet for å sette inn bilde</a:t>
            </a:r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15" hasCustomPrompt="1"/>
          </p:nvPr>
        </p:nvSpPr>
        <p:spPr>
          <a:xfrm>
            <a:off x="443819" y="5913360"/>
            <a:ext cx="3544615" cy="756000"/>
          </a:xfrm>
        </p:spPr>
        <p:txBody>
          <a:bodyPr>
            <a:noAutofit/>
          </a:bodyPr>
          <a:lstStyle>
            <a:lvl1pPr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her for å skrive inn tittel og hvordan utarbeides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4345000" y="5913360"/>
            <a:ext cx="3544615" cy="756000"/>
          </a:xfrm>
        </p:spPr>
        <p:txBody>
          <a:bodyPr>
            <a:noAutofit/>
          </a:bodyPr>
          <a:lstStyle>
            <a:lvl1pPr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her for å skrive inn tittel og hvordan utarbeides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8246180" y="5913360"/>
            <a:ext cx="3544615" cy="756000"/>
          </a:xfrm>
        </p:spPr>
        <p:txBody>
          <a:bodyPr>
            <a:noAutofit/>
          </a:bodyPr>
          <a:lstStyle>
            <a:lvl1pPr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her for å skrive inn tittel og hvordan utarbeides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109" y="6526438"/>
            <a:ext cx="3030415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nb-NO" dirty="0">
                <a:solidFill>
                  <a:prstClr val="black">
                    <a:tint val="75000"/>
                  </a:prst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857263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257909" y="188913"/>
            <a:ext cx="11687906" cy="6480176"/>
          </a:xfrm>
          <a:solidFill>
            <a:srgbClr val="DCDE44"/>
          </a:solidFill>
        </p:spPr>
        <p:txBody>
          <a:bodyPr/>
          <a:lstStyle>
            <a:lvl1pPr>
              <a:defRPr/>
            </a:lvl1pPr>
          </a:lstStyle>
          <a:p>
            <a:r>
              <a:rPr lang="nb-NO" dirty="0"/>
              <a:t>Klikk på ikon for å sette inn bilde</a:t>
            </a:r>
          </a:p>
        </p:txBody>
      </p:sp>
    </p:spTree>
    <p:extLst>
      <p:ext uri="{BB962C8B-B14F-4D97-AF65-F5344CB8AC3E}">
        <p14:creationId xmlns:p14="http://schemas.microsoft.com/office/powerpoint/2010/main" val="408842534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2"/>
          <a:stretch/>
        </p:blipFill>
        <p:spPr>
          <a:xfrm>
            <a:off x="245371" y="188640"/>
            <a:ext cx="11699894" cy="5400601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2158887" y="4330000"/>
            <a:ext cx="8073076" cy="937504"/>
          </a:xfrm>
          <a:prstGeom prst="rect">
            <a:avLst/>
          </a:prstGeom>
          <a:noFill/>
        </p:spPr>
        <p:txBody>
          <a:bodyPr wrap="square" lIns="75416" tIns="75416" rIns="75416" bIns="75416" rtlCol="0">
            <a:noAutofit/>
          </a:bodyPr>
          <a:lstStyle/>
          <a:p>
            <a:pPr algn="l"/>
            <a:endParaRPr lang="nb-NO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23303" y="367266"/>
            <a:ext cx="11344031" cy="2125630"/>
          </a:xfrm>
        </p:spPr>
        <p:txBody>
          <a:bodyPr anchor="b">
            <a:normAutofit/>
          </a:bodyPr>
          <a:lstStyle>
            <a:lvl1pPr>
              <a:defRPr sz="28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/>
              <a:t>Klikk for å skrive inn avslutning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442652" y="5890627"/>
            <a:ext cx="5083247" cy="748703"/>
            <a:chOff x="291353" y="5721294"/>
            <a:chExt cx="4130138" cy="748703"/>
          </a:xfrm>
        </p:grpSpPr>
        <p:pic>
          <p:nvPicPr>
            <p:cNvPr id="6" name="Picture 2" descr="\\10.65.9.150\ds1\RRU\JOBS\LIBRARY\DSP02000 - DSP02099\DSP02001 Admin Logo Brand Update\logo files wip\NEW PA LOGO\New PA Logo 2-17 x 2-36.emf"/>
            <p:cNvPicPr>
              <a:picLocks noChangeAspect="1" noChangeArrowheads="1"/>
            </p:cNvPicPr>
            <p:nvPr/>
          </p:nvPicPr>
          <p:blipFill>
            <a:blip r:embed="rId3" cstate="screen">
              <a:biLevel thresh="50000"/>
              <a:alphaModFix amt="29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1353" y="5836872"/>
              <a:ext cx="563012" cy="493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 descr="aho_logo_cmyk.eps"/>
            <p:cNvPicPr>
              <a:picLocks noChangeAspect="1"/>
            </p:cNvPicPr>
            <p:nvPr/>
          </p:nvPicPr>
          <p:blipFill>
            <a:blip r:embed="rId4">
              <a:grayscl/>
              <a:alphaModFix amt="76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69967" y="5721294"/>
              <a:ext cx="1851524" cy="748703"/>
            </a:xfrm>
            <a:prstGeom prst="rect">
              <a:avLst/>
            </a:prstGeom>
          </p:spPr>
        </p:pic>
        <p:pic>
          <p:nvPicPr>
            <p:cNvPr id="9" name="Picture 8" descr="MW_logo_Black.eps"/>
            <p:cNvPicPr>
              <a:picLocks noChangeAspect="1"/>
            </p:cNvPicPr>
            <p:nvPr/>
          </p:nvPicPr>
          <p:blipFill>
            <a:blip r:embed="rId5" cstate="screen">
              <a:alphaModFix amt="33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75287" y="5847518"/>
              <a:ext cx="583807" cy="5296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8533195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580147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logo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305492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ilde+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2" hasCustomPrompt="1"/>
          </p:nvPr>
        </p:nvSpPr>
        <p:spPr>
          <a:xfrm>
            <a:off x="257908" y="1635124"/>
            <a:ext cx="11696028" cy="5033964"/>
          </a:xfrm>
          <a:solidFill>
            <a:srgbClr val="DCDE44"/>
          </a:solidFill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på ikon for å sette inn bilde som viser kontekst / workshop, hvis nødvendig</a:t>
            </a:r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57909" y="341780"/>
            <a:ext cx="11696027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tittel</a:t>
            </a:r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57909" y="943271"/>
            <a:ext cx="11696027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206804108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ekstslide_Introduk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7707412" y="1634464"/>
            <a:ext cx="4246524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56476" y="327262"/>
            <a:ext cx="11697460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introduksjon til &lt;tema&gt;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57909" y="5805264"/>
            <a:ext cx="6961204" cy="647924"/>
          </a:xfrm>
        </p:spPr>
        <p:txBody>
          <a:bodyPr anchor="b"/>
          <a:lstStyle>
            <a:lvl1pPr>
              <a:defRPr b="0">
                <a:solidFill>
                  <a:srgbClr val="3A7EC0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56476" y="1634463"/>
            <a:ext cx="6962636" cy="3932459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57907" y="943271"/>
            <a:ext cx="11696028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7868505" y="2080594"/>
            <a:ext cx="3911234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7880470" y="1759948"/>
            <a:ext cx="3911234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109" y="6526438"/>
            <a:ext cx="3030415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nb-NO" dirty="0">
                <a:solidFill>
                  <a:prstClr val="black">
                    <a:tint val="75000"/>
                  </a:prst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09856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ap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05"/>
          <a:stretch/>
        </p:blipFill>
        <p:spPr>
          <a:xfrm>
            <a:off x="245371" y="188640"/>
            <a:ext cx="11699894" cy="648044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2158887" y="4330000"/>
            <a:ext cx="8073076" cy="937504"/>
          </a:xfrm>
          <a:prstGeom prst="rect">
            <a:avLst/>
          </a:prstGeom>
          <a:noFill/>
        </p:spPr>
        <p:txBody>
          <a:bodyPr wrap="square" lIns="75416" tIns="75416" rIns="75416" bIns="75416" rtlCol="0">
            <a:noAutofit/>
          </a:bodyPr>
          <a:lstStyle/>
          <a:p>
            <a:pPr algn="l"/>
            <a:endParaRPr lang="nb-NO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42653" y="1628776"/>
            <a:ext cx="11344031" cy="1803722"/>
          </a:xfrm>
        </p:spPr>
        <p:txBody>
          <a:bodyPr anchor="b">
            <a:normAutofit/>
          </a:bodyPr>
          <a:lstStyle>
            <a:lvl1pPr>
              <a:defRPr sz="2800" b="0" baseline="0">
                <a:solidFill>
                  <a:srgbClr val="3A7EC0"/>
                </a:solidFill>
              </a:defRPr>
            </a:lvl1pPr>
          </a:lstStyle>
          <a:p>
            <a:pPr lvl="0"/>
            <a:r>
              <a:rPr lang="nb-NO" dirty="0"/>
              <a:t>Klikk for å skrive inn navn på kapittel</a:t>
            </a: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36158" y="3438248"/>
            <a:ext cx="8041349" cy="432000"/>
          </a:xfrm>
        </p:spPr>
        <p:txBody>
          <a:bodyPr wrap="square" lIns="36000" tIns="36000" rIns="36000" bIns="36000">
            <a:normAutofit/>
          </a:bodyPr>
          <a:lstStyle>
            <a:lvl1pPr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119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8617953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B1E7DC70-45B6-5248-9714-AE001EF67D57}" type="datetime1">
              <a:rPr lang="nb-NO" smtClean="0">
                <a:solidFill>
                  <a:prstClr val="black"/>
                </a:solidFill>
              </a:rPr>
              <a:pPr/>
              <a:t>30.11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32676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83A8DDF2-AF9E-9043-8B2A-587A6854AB37}" type="datetime1">
              <a:rPr lang="nb-NO" smtClean="0">
                <a:solidFill>
                  <a:prstClr val="black"/>
                </a:solidFill>
              </a:rPr>
              <a:pPr/>
              <a:t>30.11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1422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193370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2EE177D-F380-4A4D-842E-5C2101813C7A}" type="datetime1">
              <a:rPr lang="nb-NO" smtClean="0">
                <a:solidFill>
                  <a:prstClr val="black"/>
                </a:solidFill>
              </a:rPr>
              <a:pPr/>
              <a:t>30.11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81251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400756E3-28AA-5E40-BBBF-2FBFC7E67311}" type="datetime1">
              <a:rPr lang="nb-NO" smtClean="0">
                <a:solidFill>
                  <a:prstClr val="black"/>
                </a:solidFill>
              </a:rPr>
              <a:pPr/>
              <a:t>30.11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1063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A3240655-7A1B-1140-9658-641020A7094A}" type="datetime1">
              <a:rPr lang="nb-NO" smtClean="0">
                <a:solidFill>
                  <a:prstClr val="black"/>
                </a:solidFill>
              </a:rPr>
              <a:pPr/>
              <a:t>30.11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57401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4606533A-C20D-5743-8623-71C0F8E8C41B}" type="datetime1">
              <a:rPr lang="nb-NO" smtClean="0">
                <a:solidFill>
                  <a:prstClr val="black"/>
                </a:solidFill>
              </a:rPr>
              <a:pPr/>
              <a:t>30.11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2849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896688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084D571D-C947-1B4F-AB1F-BDDE39ED8F77}" type="datetime1">
              <a:rPr lang="nb-NO" smtClean="0">
                <a:solidFill>
                  <a:prstClr val="black"/>
                </a:solidFill>
              </a:rPr>
              <a:pPr/>
              <a:t>30.11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35713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73634D28-3219-E941-92E0-F52DC949C6E6}" type="datetime1">
              <a:rPr lang="nb-NO" smtClean="0">
                <a:solidFill>
                  <a:prstClr val="black"/>
                </a:solidFill>
              </a:rPr>
              <a:pPr/>
              <a:t>30.11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25110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839200" y="274643"/>
            <a:ext cx="2743200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43"/>
            <a:ext cx="8026400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29D1D2B5-0901-D345-8691-F4D34AE88383}" type="datetime1">
              <a:rPr lang="nb-NO" smtClean="0">
                <a:solidFill>
                  <a:prstClr val="black"/>
                </a:solidFill>
              </a:rPr>
              <a:pPr/>
              <a:t>30.11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80239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ag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7067" y="476250"/>
            <a:ext cx="11137900" cy="865188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100000"/>
              </a:lnSpc>
              <a:defRPr sz="3500" b="1" i="0" cap="none" baseline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 dirty="0"/>
              <a:t>Heading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27067" y="188917"/>
            <a:ext cx="11137900" cy="28733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/>
            </a:lvl1pPr>
          </a:lstStyle>
          <a:p>
            <a:pPr lvl="0"/>
            <a:r>
              <a:rPr lang="en-US" dirty="0"/>
              <a:t>Header</a:t>
            </a:r>
            <a:endParaRPr lang="nb-NO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/>
          </p:nvPr>
        </p:nvSpPr>
        <p:spPr>
          <a:xfrm>
            <a:off x="527067" y="1844679"/>
            <a:ext cx="11137900" cy="396081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68414587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age 2 column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7053" y="476252"/>
            <a:ext cx="11137899" cy="865188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100000"/>
              </a:lnSpc>
              <a:defRPr sz="3500" b="1" i="1" cap="none" baseline="0">
                <a:solidFill>
                  <a:schemeClr val="accent3"/>
                </a:solidFill>
                <a:latin typeface="Georgia" pitchFamily="18" charset="0"/>
              </a:defRPr>
            </a:lvl1pPr>
          </a:lstStyle>
          <a:p>
            <a:r>
              <a:rPr lang="en-US" dirty="0"/>
              <a:t>Heading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27067" y="188641"/>
            <a:ext cx="11137900" cy="28761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/>
            </a:lvl1pPr>
          </a:lstStyle>
          <a:p>
            <a:pPr lvl="0"/>
            <a:r>
              <a:rPr lang="en-US" dirty="0"/>
              <a:t>Header</a:t>
            </a:r>
            <a:endParaRPr lang="nb-NO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27052" y="1844679"/>
            <a:ext cx="5376333" cy="396081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/>
          </p:nvPr>
        </p:nvSpPr>
        <p:spPr>
          <a:xfrm>
            <a:off x="6288619" y="1844679"/>
            <a:ext cx="5376333" cy="396081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84253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27067" y="188917"/>
            <a:ext cx="11137900" cy="28733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/>
            </a:lvl1pPr>
          </a:lstStyle>
          <a:p>
            <a:pPr lvl="0"/>
            <a:r>
              <a:rPr lang="en-US" dirty="0"/>
              <a:t>Header</a:t>
            </a:r>
            <a:endParaRPr lang="nb-NO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527067" y="475200"/>
            <a:ext cx="11137900" cy="865188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100000"/>
              </a:lnSpc>
              <a:defRPr sz="3500" b="1" i="1" cap="none" baseline="0">
                <a:solidFill>
                  <a:srgbClr val="080808"/>
                </a:solidFill>
                <a:latin typeface="Georgia" pitchFamily="18" charset="0"/>
              </a:defRPr>
            </a:lvl1pPr>
          </a:lstStyle>
          <a:p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9069211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hv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527051" y="1557342"/>
            <a:ext cx="8544984" cy="1211977"/>
          </a:xfrm>
        </p:spPr>
        <p:txBody>
          <a:bodyPr wrap="square" anchor="b" anchorCtr="0">
            <a:normAutofit/>
          </a:bodyPr>
          <a:lstStyle>
            <a:lvl1pPr>
              <a:defRPr sz="4000" b="1" i="1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r>
              <a:rPr lang="en-US" dirty="0"/>
              <a:t>Click to add section divider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27051" y="3068640"/>
            <a:ext cx="8352368" cy="307776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2000">
                <a:solidFill>
                  <a:schemeClr val="accent3"/>
                </a:solidFill>
                <a:latin typeface="+mn-lt"/>
              </a:defRPr>
            </a:lvl1pPr>
            <a:lvl2pPr marL="456377" indent="0">
              <a:buNone/>
              <a:defRPr sz="1800"/>
            </a:lvl2pPr>
            <a:lvl3pPr marL="912756" indent="0">
              <a:buNone/>
              <a:defRPr sz="1500"/>
            </a:lvl3pPr>
            <a:lvl4pPr marL="1369132" indent="0">
              <a:buNone/>
              <a:defRPr sz="1400"/>
            </a:lvl4pPr>
            <a:lvl5pPr marL="1825516" indent="0">
              <a:buNone/>
              <a:defRPr sz="1400"/>
            </a:lvl5pPr>
            <a:lvl6pPr marL="2281895" indent="0">
              <a:buNone/>
              <a:defRPr sz="1400"/>
            </a:lvl6pPr>
            <a:lvl7pPr marL="2738274" indent="0">
              <a:buNone/>
              <a:defRPr sz="1400"/>
            </a:lvl7pPr>
            <a:lvl8pPr marL="3194652" indent="0">
              <a:buNone/>
              <a:defRPr sz="1400"/>
            </a:lvl8pPr>
            <a:lvl9pPr marL="3651032" indent="0">
              <a:buNone/>
              <a:defRPr sz="1400"/>
            </a:lvl9pPr>
          </a:lstStyle>
          <a:p>
            <a:pPr lvl="0"/>
            <a:r>
              <a:rPr lang="en-US" dirty="0"/>
              <a:t>Click to edit subtitle</a:t>
            </a:r>
          </a:p>
        </p:txBody>
      </p:sp>
      <p:cxnSp>
        <p:nvCxnSpPr>
          <p:cNvPr id="18" name="Rett linje 12"/>
          <p:cNvCxnSpPr/>
          <p:nvPr userDrawn="1"/>
        </p:nvCxnSpPr>
        <p:spPr>
          <a:xfrm>
            <a:off x="527053" y="2924944"/>
            <a:ext cx="8544984" cy="0"/>
          </a:xfrm>
          <a:prstGeom prst="line">
            <a:avLst/>
          </a:prstGeom>
          <a:ln w="3175">
            <a:solidFill>
              <a:srgbClr val="A6A6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18340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llustration (light green)">
    <p:bg>
      <p:bgPr>
        <a:solidFill>
          <a:srgbClr val="DBF1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27067" y="188917"/>
            <a:ext cx="11137900" cy="28733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/>
            </a:lvl1pPr>
          </a:lstStyle>
          <a:p>
            <a:pPr lvl="0"/>
            <a:r>
              <a:rPr lang="en-US" dirty="0"/>
              <a:t>Header</a:t>
            </a:r>
            <a:endParaRPr lang="nb-NO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527067" y="475200"/>
            <a:ext cx="11137900" cy="865188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100000"/>
              </a:lnSpc>
              <a:defRPr sz="3500" b="1" i="1" cap="none" baseline="0">
                <a:solidFill>
                  <a:srgbClr val="080808"/>
                </a:solidFill>
                <a:latin typeface="Georgia" pitchFamily="18" charset="0"/>
              </a:defRPr>
            </a:lvl1pPr>
          </a:lstStyle>
          <a:p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8087168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31373" y="332656"/>
            <a:ext cx="11329259" cy="6048672"/>
          </a:xfrm>
          <a:prstGeom prst="rect">
            <a:avLst/>
          </a:prstGeom>
          <a:solidFill>
            <a:schemeClr val="accent5"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2" tIns="45651" rIns="91292" bIns="45651" rtlCol="0" anchor="t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6591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295401" y="3213100"/>
            <a:ext cx="9696451" cy="2592388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algn="ctr">
              <a:defRPr sz="2000">
                <a:solidFill>
                  <a:schemeClr val="bg1"/>
                </a:solidFill>
              </a:defRPr>
            </a:lvl2pPr>
            <a:lvl3pPr algn="ctr">
              <a:defRPr sz="2000">
                <a:solidFill>
                  <a:schemeClr val="bg1"/>
                </a:solidFill>
              </a:defRPr>
            </a:lvl3pPr>
            <a:lvl4pPr algn="ctr">
              <a:defRPr sz="2000">
                <a:solidFill>
                  <a:schemeClr val="bg1"/>
                </a:solidFill>
              </a:defRPr>
            </a:lvl4pPr>
            <a:lvl5pPr algn="ctr"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1295412" y="476251"/>
            <a:ext cx="9696453" cy="2305050"/>
          </a:xfrm>
        </p:spPr>
        <p:txBody>
          <a:bodyPr wrap="square" anchor="b" anchorCtr="0">
            <a:normAutofit/>
          </a:bodyPr>
          <a:lstStyle>
            <a:lvl1pPr algn="ctr">
              <a:lnSpc>
                <a:spcPct val="120000"/>
              </a:lnSpc>
              <a:defRPr sz="6000" b="1" i="1" cap="none" baseline="0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r>
              <a:rPr lang="en-US" dirty="0"/>
              <a:t>Highlight</a:t>
            </a:r>
          </a:p>
        </p:txBody>
      </p:sp>
    </p:spTree>
    <p:extLst>
      <p:ext uri="{BB962C8B-B14F-4D97-AF65-F5344CB8AC3E}">
        <p14:creationId xmlns:p14="http://schemas.microsoft.com/office/powerpoint/2010/main" val="37302988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B1E7DC70-45B6-5248-9714-AE001EF67D57}" type="datetime1">
              <a:rPr lang="nb-NO" smtClean="0">
                <a:solidFill>
                  <a:prstClr val="black"/>
                </a:solidFill>
              </a:rPr>
              <a:pPr/>
              <a:t>30.11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373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(bordeaux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80602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logo (black)">
    <p:bg>
      <p:bgPr>
        <a:solidFill>
          <a:schemeClr val="accent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5992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logo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124290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760416" y="6623221"/>
            <a:ext cx="3860800" cy="115195"/>
          </a:xfrm>
          <a:prstGeom prst="rect">
            <a:avLst/>
          </a:prstGeom>
        </p:spPr>
        <p:txBody>
          <a:bodyPr vert="horz" lIns="0" tIns="72000" rIns="36000" bIns="72000" rtlCol="0" anchor="ctr"/>
          <a:lstStyle>
            <a:lvl1pPr algn="l">
              <a:defRPr sz="600">
                <a:solidFill>
                  <a:schemeClr val="bg2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C3AFCC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75090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3378200"/>
          </a:xfrm>
          <a:prstGeom prst="rect">
            <a:avLst/>
          </a:prstGeom>
          <a:solidFill>
            <a:srgbClr val="0010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10" name="Rektangel 9"/>
          <p:cNvSpPr/>
          <p:nvPr userDrawn="1"/>
        </p:nvSpPr>
        <p:spPr>
          <a:xfrm>
            <a:off x="10244667" y="5911850"/>
            <a:ext cx="1701800" cy="8191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11" name="Title 19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9915291" cy="466880"/>
          </a:xfrm>
        </p:spPr>
        <p:txBody>
          <a:bodyPr>
            <a:noAutofit/>
          </a:bodyPr>
          <a:lstStyle>
            <a:lvl1pPr algn="l">
              <a:defRPr sz="3000">
                <a:solidFill>
                  <a:srgbClr val="FFFFFF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2" name="Subtitle 20"/>
          <p:cNvSpPr>
            <a:spLocks noGrp="1"/>
          </p:cNvSpPr>
          <p:nvPr>
            <p:ph type="subTitle" idx="1"/>
          </p:nvPr>
        </p:nvSpPr>
        <p:spPr>
          <a:xfrm>
            <a:off x="664227" y="2822895"/>
            <a:ext cx="8534400" cy="516192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rgbClr val="FFFFFF"/>
                </a:solidFill>
              </a:defRPr>
            </a:lvl1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3" name="Bilde 12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14" name="Bilde 13" descr="KS tag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438" y="6159500"/>
            <a:ext cx="3137662" cy="287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20786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>
          <a:xfrm>
            <a:off x="609600" y="732380"/>
            <a:ext cx="10972800" cy="11321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1046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30.11.2023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1" y="617378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sp>
        <p:nvSpPr>
          <p:cNvPr id="14" name="Plassholder for innhold 13"/>
          <p:cNvSpPr>
            <a:spLocks noGrp="1"/>
          </p:cNvSpPr>
          <p:nvPr>
            <p:ph sz="quarter" idx="10"/>
          </p:nvPr>
        </p:nvSpPr>
        <p:spPr>
          <a:xfrm>
            <a:off x="609601" y="1959429"/>
            <a:ext cx="10972800" cy="361149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621069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731276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967113"/>
            <a:ext cx="5384800" cy="368833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967113"/>
            <a:ext cx="5384800" cy="368833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30.11.2023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9909363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731276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30.11.2023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2187580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30.11.2023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0894744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30.11.2023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822103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83A8DDF2-AF9E-9043-8B2A-587A6854AB37}" type="datetime1">
              <a:rPr lang="nb-NO" smtClean="0">
                <a:solidFill>
                  <a:prstClr val="black"/>
                </a:solidFill>
              </a:rPr>
              <a:pPr/>
              <a:t>30.11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5803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30.11.2023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9970308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30.11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297052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30.11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2470163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0010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7493466" cy="1066928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80518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008C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7151487" cy="1230558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01333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BCCF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6756851" cy="1134305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rgbClr val="001A58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57590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3378200"/>
          </a:xfrm>
          <a:prstGeom prst="rect">
            <a:avLst/>
          </a:prstGeom>
          <a:solidFill>
            <a:srgbClr val="0010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10" name="Rektangel 9"/>
          <p:cNvSpPr/>
          <p:nvPr userDrawn="1"/>
        </p:nvSpPr>
        <p:spPr>
          <a:xfrm>
            <a:off x="10244667" y="5911850"/>
            <a:ext cx="1701800" cy="8191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11" name="Title 19"/>
          <p:cNvSpPr>
            <a:spLocks noGrp="1"/>
          </p:cNvSpPr>
          <p:nvPr>
            <p:ph type="ctrTitle"/>
          </p:nvPr>
        </p:nvSpPr>
        <p:spPr>
          <a:xfrm>
            <a:off x="664229" y="2196036"/>
            <a:ext cx="9915291" cy="466880"/>
          </a:xfrm>
        </p:spPr>
        <p:txBody>
          <a:bodyPr>
            <a:noAutofit/>
          </a:bodyPr>
          <a:lstStyle>
            <a:lvl1pPr algn="l">
              <a:defRPr sz="3000">
                <a:solidFill>
                  <a:srgbClr val="FFFFFF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2" name="Subtitle 20"/>
          <p:cNvSpPr>
            <a:spLocks noGrp="1"/>
          </p:cNvSpPr>
          <p:nvPr>
            <p:ph type="subTitle" idx="1"/>
          </p:nvPr>
        </p:nvSpPr>
        <p:spPr>
          <a:xfrm>
            <a:off x="664227" y="2822895"/>
            <a:ext cx="8534400" cy="516192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rgbClr val="FFFFFF"/>
                </a:solidFill>
              </a:defRPr>
            </a:lvl1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3" name="Bilde 12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40" y="463550"/>
            <a:ext cx="953397" cy="476250"/>
          </a:xfrm>
          <a:prstGeom prst="rect">
            <a:avLst/>
          </a:prstGeom>
        </p:spPr>
      </p:pic>
      <p:pic>
        <p:nvPicPr>
          <p:cNvPr id="14" name="Bilde 13" descr="KS tag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456" y="6159560"/>
            <a:ext cx="3137663" cy="287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73413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>
          <a:xfrm>
            <a:off x="609600" y="732380"/>
            <a:ext cx="10972800" cy="11321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1046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84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30.11.2023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84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41" y="617384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4" name="Plassholder for innhold 13"/>
          <p:cNvSpPr>
            <a:spLocks noGrp="1"/>
          </p:cNvSpPr>
          <p:nvPr>
            <p:ph sz="quarter" idx="10"/>
          </p:nvPr>
        </p:nvSpPr>
        <p:spPr>
          <a:xfrm>
            <a:off x="609601" y="1959429"/>
            <a:ext cx="10972800" cy="361149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8788171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731276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967113"/>
            <a:ext cx="5384800" cy="368833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967113"/>
            <a:ext cx="5384800" cy="368833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30.11.2023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72789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731276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30.11.2023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8985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193370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2EE177D-F380-4A4D-842E-5C2101813C7A}" type="datetime1">
              <a:rPr lang="nb-NO" smtClean="0">
                <a:solidFill>
                  <a:prstClr val="black"/>
                </a:solidFill>
              </a:rPr>
              <a:pPr/>
              <a:t>30.11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649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30.11.2023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93294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30.11.2023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508887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30.11.2023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97522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30.11.2023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95524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839200" y="274643"/>
            <a:ext cx="2743200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43"/>
            <a:ext cx="8026400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30.11.2023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602458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0010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8" y="2196036"/>
            <a:ext cx="7493467" cy="1066928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40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78184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008C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36" y="2196036"/>
            <a:ext cx="7151487" cy="1230558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40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50646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BCCF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8" y="2196096"/>
            <a:ext cx="6756851" cy="1134305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rgbClr val="001A58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40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18392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LD_PresentationTitle">
            <a:extLst>
              <a:ext uri="{FF2B5EF4-FFF2-40B4-BE49-F238E27FC236}">
                <a16:creationId xmlns:a16="http://schemas.microsoft.com/office/drawing/2014/main" id="{B1DAA5DF-5AA7-49EC-ACBF-10E8A197127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8617" y="409474"/>
            <a:ext cx="9774384" cy="681390"/>
          </a:xfrm>
        </p:spPr>
        <p:txBody>
          <a:bodyPr tIns="0" anchor="t" anchorCtr="0"/>
          <a:lstStyle>
            <a:lvl1pPr>
              <a:defRPr sz="4799" cap="all" spc="-150" baseline="0" smtClean="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19" name="FLD_PresentationTitle_2">
            <a:extLst>
              <a:ext uri="{FF2B5EF4-FFF2-40B4-BE49-F238E27FC236}">
                <a16:creationId xmlns:a16="http://schemas.microsoft.com/office/drawing/2014/main" id="{5B27253C-39D7-4448-BD0F-A9FC3677BCBD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98616" y="1139480"/>
            <a:ext cx="9773924" cy="1254272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4799" b="1" cap="all" spc="-150" baseline="0" smtClean="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20" name="FLD_PresentationSubtitle">
            <a:extLst>
              <a:ext uri="{FF2B5EF4-FFF2-40B4-BE49-F238E27FC236}">
                <a16:creationId xmlns:a16="http://schemas.microsoft.com/office/drawing/2014/main" id="{735D5C9D-0ACC-4AA8-AD82-A264D57A9D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8618" y="5018936"/>
            <a:ext cx="8137938" cy="1084011"/>
          </a:xfrm>
        </p:spPr>
        <p:txBody>
          <a:bodyPr lIns="0"/>
          <a:lstStyle>
            <a:lvl1pPr marL="0" indent="0">
              <a:buFont typeface="Arial" panose="020B0604020202020204" pitchFamily="34" charset="0"/>
              <a:buChar char="​"/>
              <a:defRPr sz="1600"/>
            </a:lvl1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08620" y="6283328"/>
            <a:ext cx="480000" cy="15557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FC6EA742-E999-426B-9F1C-33524D47AE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56591" y="6280502"/>
            <a:ext cx="6515949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2" name="Date_DateCustomA">
            <a:extLst>
              <a:ext uri="{FF2B5EF4-FFF2-40B4-BE49-F238E27FC236}">
                <a16:creationId xmlns:a16="http://schemas.microsoft.com/office/drawing/2014/main" id="{09BA1C59-AB8D-4ACE-A4C9-3A97AB0B83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A13F78D9-42B8-43DD-B9D4-11FA41011F45}" type="datetime1">
              <a:rPr lang="en-GB" smtClean="0"/>
              <a:t>30/11/2023</a:t>
            </a:fld>
            <a:endParaRPr lang="en-GB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BB368B35-1A95-4DB8-9489-9493B9DFE5D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8616" y="6308351"/>
            <a:ext cx="2826826" cy="25554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9F306B5-2FFE-4AA8-BFAA-FEED344911E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20510" y="6218317"/>
            <a:ext cx="868130" cy="435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14762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righ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9">
            <a:extLst>
              <a:ext uri="{FF2B5EF4-FFF2-40B4-BE49-F238E27FC236}">
                <a16:creationId xmlns:a16="http://schemas.microsoft.com/office/drawing/2014/main" id="{645FE9CD-1ED4-4BAB-A2E6-81FAE97D5A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58000"/>
          </a:xfrm>
          <a:noFill/>
          <a:ln>
            <a:noFill/>
          </a:ln>
        </p:spPr>
        <p:txBody>
          <a:bodyPr tIns="0" anchor="t" anchorCtr="0"/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3" name="FLD_PresentationTitle">
            <a:extLst>
              <a:ext uri="{FF2B5EF4-FFF2-40B4-BE49-F238E27FC236}">
                <a16:creationId xmlns:a16="http://schemas.microsoft.com/office/drawing/2014/main" id="{14D760D6-4511-4FB6-834E-914C8197AE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8618" y="409474"/>
            <a:ext cx="9773923" cy="681390"/>
          </a:xfrm>
        </p:spPr>
        <p:txBody>
          <a:bodyPr tIns="0" anchor="t" anchorCtr="0"/>
          <a:lstStyle>
            <a:lvl1pPr>
              <a:defRPr sz="4799" cap="all" spc="-150" baseline="0" smtClean="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15" name="FLD_PresentationTitle_2">
            <a:extLst>
              <a:ext uri="{FF2B5EF4-FFF2-40B4-BE49-F238E27FC236}">
                <a16:creationId xmlns:a16="http://schemas.microsoft.com/office/drawing/2014/main" id="{97052B4B-9CE9-499F-8A38-BF912EBD1177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98617" y="1139480"/>
            <a:ext cx="9773463" cy="1254272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4799" b="1" cap="all" spc="-150" baseline="0" smtClean="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20" name="FLD_PresentationSubtitle">
            <a:extLst>
              <a:ext uri="{FF2B5EF4-FFF2-40B4-BE49-F238E27FC236}">
                <a16:creationId xmlns:a16="http://schemas.microsoft.com/office/drawing/2014/main" id="{735D5C9D-0ACC-4AA8-AD82-A264D57A9D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8618" y="5018936"/>
            <a:ext cx="8137938" cy="1084011"/>
          </a:xfrm>
        </p:spPr>
        <p:txBody>
          <a:bodyPr lIns="0"/>
          <a:lstStyle>
            <a:lvl1pPr marL="0" indent="0">
              <a:buFont typeface="Arial" panose="020B0604020202020204" pitchFamily="34" charset="0"/>
              <a:buChar char="​"/>
              <a:defRPr sz="1600"/>
            </a:lvl1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7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7" name="Footer Placeholder 4" hidden="1">
            <a:extLst>
              <a:ext uri="{FF2B5EF4-FFF2-40B4-BE49-F238E27FC236}">
                <a16:creationId xmlns:a16="http://schemas.microsoft.com/office/drawing/2014/main" id="{32F99A81-D9A2-4F30-8989-49FBFDFFB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100" baseline="0">
                <a:noFill/>
              </a:defRPr>
            </a:lvl1pPr>
          </a:lstStyle>
          <a:p>
            <a:pPr algn="r"/>
            <a:endParaRPr lang="en-DK" dirty="0"/>
          </a:p>
        </p:txBody>
      </p:sp>
      <p:sp>
        <p:nvSpPr>
          <p:cNvPr id="18" name="Date_DateCustomA">
            <a:extLst>
              <a:ext uri="{FF2B5EF4-FFF2-40B4-BE49-F238E27FC236}">
                <a16:creationId xmlns:a16="http://schemas.microsoft.com/office/drawing/2014/main" id="{4677BC5A-C865-45E8-BEA2-32CF74611B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en-GB" sz="100" smtClean="0">
                <a:noFill/>
              </a:defRPr>
            </a:lvl1pPr>
          </a:lstStyle>
          <a:p>
            <a:pPr algn="r"/>
            <a:endParaRPr lang="en-DK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BCB23DC-9A5C-4856-B9D3-C9BA6C1668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8617" y="6158174"/>
            <a:ext cx="2826368" cy="25554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788896D-DB7F-4431-AB25-726EE7A5E29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82302" y="6158175"/>
            <a:ext cx="868130" cy="435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15339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400756E3-28AA-5E40-BBBF-2FBFC7E67311}" type="datetime1">
              <a:rPr lang="nb-NO" smtClean="0">
                <a:solidFill>
                  <a:prstClr val="black"/>
                </a:solidFill>
              </a:rPr>
              <a:pPr/>
              <a:t>30.11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652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9">
            <a:extLst>
              <a:ext uri="{FF2B5EF4-FFF2-40B4-BE49-F238E27FC236}">
                <a16:creationId xmlns:a16="http://schemas.microsoft.com/office/drawing/2014/main" id="{645FE9CD-1ED4-4BAB-A2E6-81FAE97D5A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58000"/>
          </a:xfrm>
          <a:solidFill>
            <a:srgbClr val="F6F6F4"/>
          </a:solidFill>
          <a:ln>
            <a:noFill/>
          </a:ln>
        </p:spPr>
        <p:txBody>
          <a:bodyPr tIns="0" anchor="t" anchorCtr="0"/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3" name="FLD_PresentationTitle">
            <a:extLst>
              <a:ext uri="{FF2B5EF4-FFF2-40B4-BE49-F238E27FC236}">
                <a16:creationId xmlns:a16="http://schemas.microsoft.com/office/drawing/2014/main" id="{14D760D6-4511-4FB6-834E-914C8197AE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8617" y="409474"/>
            <a:ext cx="9774382" cy="681390"/>
          </a:xfrm>
        </p:spPr>
        <p:txBody>
          <a:bodyPr tIns="0" anchor="t" anchorCtr="0"/>
          <a:lstStyle>
            <a:lvl1pPr>
              <a:defRPr sz="4799" cap="all" spc="-150" baseline="0" smtClean="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15" name="FLD_PresentationTitle_2">
            <a:extLst>
              <a:ext uri="{FF2B5EF4-FFF2-40B4-BE49-F238E27FC236}">
                <a16:creationId xmlns:a16="http://schemas.microsoft.com/office/drawing/2014/main" id="{97052B4B-9CE9-499F-8A38-BF912EBD1177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98617" y="1139480"/>
            <a:ext cx="9773922" cy="1254272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4799" b="1" cap="all" spc="-150" baseline="0" smtClean="0">
                <a:solidFill>
                  <a:schemeClr val="bg1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20" name="FLD_PresentationSubtitle">
            <a:extLst>
              <a:ext uri="{FF2B5EF4-FFF2-40B4-BE49-F238E27FC236}">
                <a16:creationId xmlns:a16="http://schemas.microsoft.com/office/drawing/2014/main" id="{735D5C9D-0ACC-4AA8-AD82-A264D57A9D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8618" y="5018936"/>
            <a:ext cx="8137938" cy="1084011"/>
          </a:xfrm>
        </p:spPr>
        <p:txBody>
          <a:bodyPr lIns="0"/>
          <a:lstStyle>
            <a:lvl1pPr marL="0" indent="0"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7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9" name="Slide Number Placeholder 5" hidden="1">
            <a:extLst>
              <a:ext uri="{FF2B5EF4-FFF2-40B4-BE49-F238E27FC236}">
                <a16:creationId xmlns:a16="http://schemas.microsoft.com/office/drawing/2014/main" id="{F31626DF-C504-456C-BABA-F9E112AEAE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2" name="Footer Placeholder 4" hidden="1">
            <a:extLst>
              <a:ext uri="{FF2B5EF4-FFF2-40B4-BE49-F238E27FC236}">
                <a16:creationId xmlns:a16="http://schemas.microsoft.com/office/drawing/2014/main" id="{148EA343-9CD9-4A35-8E70-A9FAF3855B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100" baseline="0">
                <a:noFill/>
              </a:defRPr>
            </a:lvl1pPr>
          </a:lstStyle>
          <a:p>
            <a:pPr algn="r"/>
            <a:endParaRPr lang="en-DK" dirty="0"/>
          </a:p>
        </p:txBody>
      </p:sp>
      <p:sp>
        <p:nvSpPr>
          <p:cNvPr id="23" name="Date_DateCustomA" hidden="1">
            <a:extLst>
              <a:ext uri="{FF2B5EF4-FFF2-40B4-BE49-F238E27FC236}">
                <a16:creationId xmlns:a16="http://schemas.microsoft.com/office/drawing/2014/main" id="{D46E539C-AF02-4268-B134-91B646ABB7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en-GB" sz="100" smtClean="0">
                <a:noFill/>
              </a:defRPr>
            </a:lvl1pPr>
          </a:lstStyle>
          <a:p>
            <a:pPr algn="r"/>
            <a:endParaRPr lang="en-DK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B71DD6B-2BD1-40F7-8209-3A56F244488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8617" y="6158174"/>
            <a:ext cx="2826368" cy="25554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7447767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205C9348-6845-4A4F-958A-4A052BC8E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618" y="452438"/>
            <a:ext cx="7330441" cy="5254627"/>
          </a:xfrm>
        </p:spPr>
        <p:txBody>
          <a:bodyPr/>
          <a:lstStyle>
            <a:lvl1pPr>
              <a:defRPr sz="4799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reaker text</a:t>
            </a:r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19783461-93EA-4162-AC89-71558EC415F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617" y="6158174"/>
            <a:ext cx="1219359" cy="25711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GB" sz="1800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EE38BD6-B0DE-4974-8C0E-549D4DF8AD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4F117C74-452F-4005-AE59-9EDC236F06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39E358D6-2C07-4588-BB20-50FD0000CCEB}" type="datetime1">
              <a:rPr lang="en-GB" smtClean="0"/>
              <a:t>30/11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902653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C666208A-F4F9-4299-9F9F-6881C4C08564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7DF7DBE-6CC3-4F9E-A396-E82820B89E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618" y="452438"/>
            <a:ext cx="4886960" cy="52546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reaker text</a:t>
            </a:r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428454B1-AE1A-41EC-AD14-E0008864B56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617" y="6158174"/>
            <a:ext cx="1219359" cy="25711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GB" sz="1800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AE25691-DC33-4C04-AF2A-3DEFF887BB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7" name="Date_DateCustomA">
            <a:extLst>
              <a:ext uri="{FF2B5EF4-FFF2-40B4-BE49-F238E27FC236}">
                <a16:creationId xmlns:a16="http://schemas.microsoft.com/office/drawing/2014/main" id="{F99201D3-72C4-4206-8970-FC1ACB025C0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E6892AED-DD77-42C7-BB42-12F75B7E66E8}" type="datetime1">
              <a:rPr lang="en-GB" smtClean="0"/>
              <a:t>30/11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974163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1C52AC6E-7F31-46F0-897C-8CA895D525E5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2A0CAF9-565B-4643-8539-61D9B882A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8" y="453495"/>
            <a:ext cx="10590002" cy="7486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D6618B-DF84-4E96-B2FD-7B59D5717C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8618" y="1633160"/>
            <a:ext cx="10590003" cy="4086866"/>
          </a:xfrm>
        </p:spPr>
        <p:txBody>
          <a:bodyPr/>
          <a:lstStyle>
            <a:lvl1pPr marL="361878" indent="-361878">
              <a:buFont typeface="+mj-lt"/>
              <a:buAutoNum type="arabicPeriod"/>
              <a:defRPr sz="1400" b="1" cap="all" baseline="0">
                <a:solidFill>
                  <a:schemeClr val="bg1"/>
                </a:solidFill>
              </a:defRPr>
            </a:lvl1pPr>
            <a:lvl2pPr marL="626938" indent="-265060">
              <a:defRPr sz="1400" b="1" cap="all" baseline="0">
                <a:solidFill>
                  <a:schemeClr val="bg1"/>
                </a:solidFill>
              </a:defRPr>
            </a:lvl2pPr>
            <a:lvl3pPr>
              <a:defRPr b="1" cap="all" baseline="0">
                <a:solidFill>
                  <a:schemeClr val="bg1"/>
                </a:solidFill>
              </a:defRPr>
            </a:lvl3pPr>
            <a:lvl4pPr>
              <a:defRPr b="1" cap="all" baseline="0">
                <a:solidFill>
                  <a:schemeClr val="bg1"/>
                </a:solidFill>
              </a:defRPr>
            </a:lvl4pPr>
            <a:lvl5pPr>
              <a:defRPr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428454B1-AE1A-41EC-AD14-E0008864B56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617" y="6158174"/>
            <a:ext cx="1219359" cy="25711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GB" sz="1800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3023EA8A-7243-49C8-8C39-DC7F2EDABC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7" name="Date_DateCustomA">
            <a:extLst>
              <a:ext uri="{FF2B5EF4-FFF2-40B4-BE49-F238E27FC236}">
                <a16:creationId xmlns:a16="http://schemas.microsoft.com/office/drawing/2014/main" id="{0BFC8F03-4431-41CF-AF1F-ECDA545293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CD4A6F46-B6F7-4994-AAE4-379699F66888}" type="datetime1">
              <a:rPr lang="en-GB" smtClean="0"/>
              <a:t>30/11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53074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8DBAD0C-7FB6-4652-87AA-A678753BF1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8" y="453495"/>
            <a:ext cx="10590002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98617" y="1644652"/>
            <a:ext cx="10590003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FF0F6B-AA6E-4B16-90F1-26987BBE96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7" name="Date_DateCustomA">
            <a:extLst>
              <a:ext uri="{FF2B5EF4-FFF2-40B4-BE49-F238E27FC236}">
                <a16:creationId xmlns:a16="http://schemas.microsoft.com/office/drawing/2014/main" id="{FDCD1E09-F97D-49B0-8DE9-0E701EFB5F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3B98ADA4-E8FA-45D8-A667-5B7FA1A67187}" type="datetime1">
              <a:rPr lang="en-GB" smtClean="0"/>
              <a:t>30/11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157995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4886961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9478155-5C9E-4D4A-AA75-125DF35A1CB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0071" y="1644651"/>
            <a:ext cx="4888549" cy="40624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B842E0E-6D91-4141-882C-6C91050C6F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C64885CE-5A72-464C-A675-4AEA666E3E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51C8650-3279-4A76-90A4-98B51440301C}" type="datetime1">
              <a:rPr lang="en-GB" smtClean="0"/>
              <a:t>30/11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814035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4072467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535335C1-5736-449E-B5A3-80EF8EFB92D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85578" y="1644651"/>
            <a:ext cx="5703042" cy="40624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485281A-363B-4F1C-8128-EA4AF5256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B0E6362C-AD60-4A3E-B1BD-8ACCD0B3D7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B13202A9-DE11-408D-9B8A-7630BF567349}" type="datetime1">
              <a:rPr lang="en-GB" smtClean="0"/>
              <a:t>30/11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228537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7" y="1644652"/>
            <a:ext cx="5701454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414EC495-A6B9-4C60-A011-7047269C9CE9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7314565" y="1644651"/>
            <a:ext cx="4074055" cy="40624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60EC9E1-A6E7-4EDC-A604-820C98771D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73643761-53E5-4729-8F9C-AC57323CEE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620D795-7D6C-4DDD-9364-2C8C35AA87F6}" type="datetime1">
              <a:rPr lang="en-GB" smtClean="0"/>
              <a:t>30/11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514823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co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8959428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98617" y="1644652"/>
            <a:ext cx="10590003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6FB39600-48A6-438C-ACEE-E7C3FBF9C3A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572539" y="452439"/>
            <a:ext cx="801068" cy="800779"/>
          </a:xfrm>
          <a:noFill/>
          <a:ln>
            <a:noFill/>
          </a:ln>
        </p:spPr>
        <p:txBody>
          <a:bodyPr lIns="38399"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ico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4DE7E55-1B3D-4B43-B1B5-DE5E4FAB98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F5D459F2-4C14-4DC3-8A9D-B1E9DF21E4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9B90C0BA-1BD5-469D-8018-C447C1EB2A93}" type="datetime1">
              <a:rPr lang="en-GB" smtClean="0"/>
              <a:t>30/11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786100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co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487125B-AD53-4CA5-922E-72C96A67D7AA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7" y="1644652"/>
            <a:ext cx="8959428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9CFFD8C0-0E93-4388-A9E5-6DB36C4D48D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572538" y="1644652"/>
            <a:ext cx="818272" cy="817976"/>
          </a:xfrm>
          <a:noFill/>
          <a:ln>
            <a:noFill/>
          </a:ln>
        </p:spPr>
        <p:txBody>
          <a:bodyPr lIns="38399"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ico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31502FD-B05E-464F-8932-42D027579D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AA65EC4C-43E8-483C-B54B-30D5535BB4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02DADF78-B3EF-4042-B2F9-5AAFBCE5A22E}" type="datetime1">
              <a:rPr lang="en-GB" smtClean="0"/>
              <a:t>30/11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38057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A3240655-7A1B-1140-9658-641020A7094A}" type="datetime1">
              <a:rPr lang="nb-NO" smtClean="0">
                <a:solidFill>
                  <a:prstClr val="black"/>
                </a:solidFill>
              </a:rPr>
              <a:pPr/>
              <a:t>30.11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962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llustratio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487125B-AD53-4CA5-922E-72C96A67D7AA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7" y="1644652"/>
            <a:ext cx="6515948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9CFFD8C0-0E93-4388-A9E5-6DB36C4D48D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129058" y="1644653"/>
            <a:ext cx="3259562" cy="3239941"/>
          </a:xfrm>
          <a:noFill/>
          <a:ln>
            <a:noFill/>
          </a:ln>
        </p:spPr>
        <p:txBody>
          <a:bodyPr lIns="38399"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dirty="0">
                <a:effectLst/>
              </a:rPr>
              <a:t>illustration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B97A6BE-821A-4BF5-AFE7-9A048351C6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11815BEB-2C63-4CBF-9795-6F15022666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BA51A42-5836-428D-B66B-B65A92E2CCAA}" type="datetime1">
              <a:rPr lang="en-GB" smtClean="0"/>
              <a:t>30/11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483125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 illustratio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7" y="1644652"/>
            <a:ext cx="5701454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86587FC-F18B-4FBE-8CD2-663B9BA8C73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14566" y="1644268"/>
            <a:ext cx="4074055" cy="406279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>
                <a:effectLst/>
              </a:rPr>
              <a:t>illustration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9B89233D-8149-4491-95B2-DE11051C86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D2C9554E-F561-4DDA-B278-92702108D9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136937CD-C8B6-42FA-9EC6-EF300AFFE646}" type="datetime1">
              <a:rPr lang="en-GB" smtClean="0"/>
              <a:t>30/11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097911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fac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B9C9E16-4544-49A4-A136-929E64BE7AA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7330441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9007D2D-A158-459C-BE2E-0A1D348DA7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43552" y="1644390"/>
            <a:ext cx="2445069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3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99C5C721-7970-4C21-B42B-33753616C1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43552" y="4991259"/>
            <a:ext cx="2445068" cy="715807"/>
          </a:xfrm>
        </p:spPr>
        <p:txBody>
          <a:bodyPr lIns="0" anchor="b" anchorCtr="0"/>
          <a:lstStyle>
            <a:lvl1pPr marL="228554" indent="-228554">
              <a:lnSpc>
                <a:spcPct val="80000"/>
              </a:lnSpc>
              <a:spcAft>
                <a:spcPts val="1200"/>
              </a:spcAft>
              <a:buFont typeface="+mj-lt"/>
              <a:buAutoNum type="arabicParenR"/>
              <a:defRPr sz="1000" b="0" i="1" cap="none" spc="0" baseline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Note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BDD567F-EFA3-4304-9F2D-5128B34EFFF1}"/>
              </a:ext>
            </a:extLst>
          </p:cNvPr>
          <p:cNvGrpSpPr/>
          <p:nvPr userDrawn="1"/>
        </p:nvGrpSpPr>
        <p:grpSpPr>
          <a:xfrm>
            <a:off x="-1980751" y="3537801"/>
            <a:ext cx="1797025" cy="2906915"/>
            <a:chOff x="12403271" y="-1"/>
            <a:chExt cx="1796791" cy="2907588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FA367DCD-123C-45F4-87EB-1586FA603E3A}"/>
                </a:ext>
              </a:extLst>
            </p:cNvPr>
            <p:cNvGrpSpPr/>
            <p:nvPr userDrawn="1"/>
          </p:nvGrpSpPr>
          <p:grpSpPr>
            <a:xfrm>
              <a:off x="12403271" y="-1"/>
              <a:ext cx="1796791" cy="2907588"/>
              <a:chOff x="9009867" y="1645032"/>
              <a:chExt cx="2365739" cy="3828268"/>
            </a:xfrm>
          </p:grpSpPr>
          <p:sp>
            <p:nvSpPr>
              <p:cNvPr id="17" name="Rectangle: Rounded Corners 16">
                <a:extLst>
                  <a:ext uri="{FF2B5EF4-FFF2-40B4-BE49-F238E27FC236}">
                    <a16:creationId xmlns:a16="http://schemas.microsoft.com/office/drawing/2014/main" id="{93B8FE7B-9EF6-429C-AC7B-79E85DFB481D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297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accent3"/>
                  </a:solidFill>
                </a:endParaRPr>
              </a:p>
            </p:txBody>
          </p: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132FA97E-008F-4B07-B688-A7B22404D8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8F49FA4C-A0C7-484D-9CD0-A2B1528B3A2E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697" marR="0" indent="-25395" algn="l" defTabSz="457109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</p:grp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60E582F-46F7-4DF2-ABCB-E07E85419F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2414617" y="1122667"/>
              <a:ext cx="1261627" cy="1565633"/>
            </a:xfrm>
            <a:prstGeom prst="rect">
              <a:avLst/>
            </a:prstGeom>
          </p:spPr>
        </p:pic>
      </p:grp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67D61A51-31AF-4082-AFF9-2D4AE9DB7C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9" name="Date_DateCustomA">
            <a:extLst>
              <a:ext uri="{FF2B5EF4-FFF2-40B4-BE49-F238E27FC236}">
                <a16:creationId xmlns:a16="http://schemas.microsoft.com/office/drawing/2014/main" id="{8BB7FA2D-0C66-4D42-8CC8-567BD95813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6E10093C-62DA-496A-9DBF-6F8D26F3BF2E}" type="datetime1">
              <a:rPr lang="en-GB" smtClean="0"/>
              <a:t>30/11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279167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fact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B9C9E16-4544-49A4-A136-929E64BE7AA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4072466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59CAE46-C6D8-48BD-A372-1CDE93E9CC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5579" y="1644390"/>
            <a:ext cx="2443479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67908BB7-3AA9-46B8-9F51-F98F86B5DB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43552" y="1644390"/>
            <a:ext cx="2445068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E9B38D5-AD3D-4AE8-88F2-0F9D25BB30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1AC23FC6-140A-4E04-B1F9-995F52FC873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A79F0066-3164-42E7-92E6-6ECB81B57310}" type="datetime1">
              <a:rPr lang="en-GB" smtClean="0"/>
              <a:t>30/11/2023</a:t>
            </a:fld>
            <a:endParaRPr lang="en-GB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2F1A21-DB0B-44A1-8EBE-E26897290FD2}"/>
              </a:ext>
            </a:extLst>
          </p:cNvPr>
          <p:cNvGrpSpPr/>
          <p:nvPr userDrawn="1"/>
        </p:nvGrpSpPr>
        <p:grpSpPr>
          <a:xfrm>
            <a:off x="-1980751" y="3537801"/>
            <a:ext cx="1797025" cy="2906915"/>
            <a:chOff x="12403271" y="-1"/>
            <a:chExt cx="1796791" cy="2907588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CA6B9EE2-783B-41AA-AC77-4DB0F5ED032D}"/>
                </a:ext>
              </a:extLst>
            </p:cNvPr>
            <p:cNvGrpSpPr/>
            <p:nvPr userDrawn="1"/>
          </p:nvGrpSpPr>
          <p:grpSpPr>
            <a:xfrm>
              <a:off x="12403271" y="-1"/>
              <a:ext cx="1796791" cy="2907588"/>
              <a:chOff x="9009867" y="1645032"/>
              <a:chExt cx="2365739" cy="3828268"/>
            </a:xfrm>
          </p:grpSpPr>
          <p:sp>
            <p:nvSpPr>
              <p:cNvPr id="19" name="Rectangle: Rounded Corners 18">
                <a:extLst>
                  <a:ext uri="{FF2B5EF4-FFF2-40B4-BE49-F238E27FC236}">
                    <a16:creationId xmlns:a16="http://schemas.microsoft.com/office/drawing/2014/main" id="{01B83249-39D6-4252-BB3B-A6D96E90F9B0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297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accent3"/>
                  </a:solidFill>
                </a:endParaRPr>
              </a:p>
            </p:txBody>
          </p:sp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C1B093AE-E011-42FE-AB95-66C9BFBDFA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C5F1A727-495B-4982-B3C7-671F9B44F5C2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697" marR="0" indent="-25395" algn="l" defTabSz="457109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</p:grp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6BE0B471-FCB7-47D8-9FB4-678E9DA02E8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2414617" y="1122667"/>
              <a:ext cx="1261627" cy="15656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0475412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 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8" y="453495"/>
            <a:ext cx="10590002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056592" y="1644652"/>
            <a:ext cx="7332028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44D76E6-1904-4038-80C4-8BC46CEBB7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8618" y="1644390"/>
            <a:ext cx="2443480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6CAB1BFF-44E8-48FF-AF80-4144B6650A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8" y="4991259"/>
            <a:ext cx="2443479" cy="715807"/>
          </a:xfrm>
        </p:spPr>
        <p:txBody>
          <a:bodyPr lIns="0" anchor="b" anchorCtr="0"/>
          <a:lstStyle>
            <a:lvl1pPr marL="228554" indent="-228554">
              <a:lnSpc>
                <a:spcPct val="80000"/>
              </a:lnSpc>
              <a:spcAft>
                <a:spcPts val="1200"/>
              </a:spcAft>
              <a:buFont typeface="+mj-lt"/>
              <a:buAutoNum type="arabicParenR"/>
              <a:defRPr sz="1000" b="0" i="1" cap="none" spc="0" baseline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Note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7" name="Footer Placeholder 4">
            <a:extLst>
              <a:ext uri="{FF2B5EF4-FFF2-40B4-BE49-F238E27FC236}">
                <a16:creationId xmlns:a16="http://schemas.microsoft.com/office/drawing/2014/main" id="{BB98BEF1-8B24-44DD-B00E-B069E4D5CA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29" name="Date_DateCustomA">
            <a:extLst>
              <a:ext uri="{FF2B5EF4-FFF2-40B4-BE49-F238E27FC236}">
                <a16:creationId xmlns:a16="http://schemas.microsoft.com/office/drawing/2014/main" id="{5AF2CA37-37E6-4F35-A8D3-13E15E8256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E8FCDCF-FAAC-48D8-97CE-71AEDA9EFE29}" type="datetime1">
              <a:rPr lang="en-GB" smtClean="0"/>
              <a:t>30/11/2023</a:t>
            </a:fld>
            <a:endParaRPr lang="en-GB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C08E95C-A108-449E-AA24-2989A4642A1B}"/>
              </a:ext>
            </a:extLst>
          </p:cNvPr>
          <p:cNvGrpSpPr/>
          <p:nvPr userDrawn="1"/>
        </p:nvGrpSpPr>
        <p:grpSpPr>
          <a:xfrm>
            <a:off x="-1980751" y="3537801"/>
            <a:ext cx="1797025" cy="2906915"/>
            <a:chOff x="12403271" y="-1"/>
            <a:chExt cx="1796791" cy="2907588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67BA9E9-E6FD-43CD-9C63-CB59B98DE9FA}"/>
                </a:ext>
              </a:extLst>
            </p:cNvPr>
            <p:cNvGrpSpPr/>
            <p:nvPr userDrawn="1"/>
          </p:nvGrpSpPr>
          <p:grpSpPr>
            <a:xfrm>
              <a:off x="12403271" y="-1"/>
              <a:ext cx="1796791" cy="2907588"/>
              <a:chOff x="9009867" y="1645032"/>
              <a:chExt cx="2365739" cy="3828268"/>
            </a:xfrm>
          </p:grpSpPr>
          <p:sp>
            <p:nvSpPr>
              <p:cNvPr id="18" name="Rectangle: Rounded Corners 17">
                <a:extLst>
                  <a:ext uri="{FF2B5EF4-FFF2-40B4-BE49-F238E27FC236}">
                    <a16:creationId xmlns:a16="http://schemas.microsoft.com/office/drawing/2014/main" id="{C4ED11A2-1FA8-4D5C-95DC-296255DA7DE6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297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accent3"/>
                  </a:solidFill>
                </a:endParaRPr>
              </a:p>
            </p:txBody>
          </p:sp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65E16663-E9F6-4D4C-9422-559BC29D6C4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28EF9199-7D6F-4B6A-AF35-F75259366BE9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697" marR="0" indent="-25395" algn="l" defTabSz="457109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</p:grp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B77BCF0F-D12B-4ADD-B578-30EC974B1E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2414617" y="1122667"/>
              <a:ext cx="1261627" cy="15656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717583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B6556C8-A731-4240-9800-194A4F70A1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8" y="452438"/>
            <a:ext cx="4072466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530FD33-AB9C-4A88-9BBB-1E385B91358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8618" y="1644652"/>
            <a:ext cx="4072467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9C52035C-C8B1-4C44-976C-626BFFA7790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85578" y="5388899"/>
            <a:ext cx="5703042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685578" y="536905"/>
            <a:ext cx="5703042" cy="4851994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49DC368E-8BDB-41BB-B406-A3B0A25665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6531AD21-BE76-4592-909B-A3B9638680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7E088B74-D5F8-4D6D-B466-6D0723103653}" type="datetime1">
              <a:rPr lang="en-GB" smtClean="0"/>
              <a:t>30/11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122015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2CDE71F-8FC2-4DE4-9423-EE57143478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2443480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BB1DDA8-1E6E-4FBF-BB03-A4586ACC43CE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2443480" cy="4061090"/>
          </a:xfrm>
        </p:spPr>
        <p:txBody>
          <a:bodyPr/>
          <a:lstStyle>
            <a:lvl4pPr>
              <a:defRPr sz="1400"/>
            </a:lvl4pPr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9159BA8D-3D13-45A1-A0BE-92A0162F20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56592" y="5388899"/>
            <a:ext cx="7332029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056592" y="536905"/>
            <a:ext cx="7332029" cy="4851994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7D9B79D-FD5C-45BD-97EA-6B24E7C004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11E666E0-9E5A-4A77-8B2D-91C35C22746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2EEB1991-01A7-4A1C-9C66-872C05E5583D}" type="datetime1">
              <a:rPr lang="en-GB" smtClean="0"/>
              <a:t>30/11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247867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8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685580" y="1644652"/>
            <a:ext cx="5703041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BB1DDA8-1E6E-4FBF-BB03-A4586ACC43CE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4072467" cy="4062413"/>
          </a:xfrm>
        </p:spPr>
        <p:txBody>
          <a:bodyPr/>
          <a:lstStyle>
            <a:lvl4pPr>
              <a:defRPr sz="1400"/>
            </a:lvl4pPr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85A6CB6-503A-43E4-95E9-49CCA6BE0A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85578" y="5388899"/>
            <a:ext cx="5703042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BE177DB-3D97-4178-B41E-C5E88E6EF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A29EE775-E260-4614-9C8B-28623B33C6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310C8F63-746D-49AA-89DD-F720C3C3E8E3}" type="datetime1">
              <a:rPr lang="en-GB" smtClean="0"/>
              <a:t>30/11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649671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2443480" cy="3744247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10A7420-B42B-4A1E-801C-58F73E98E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E94D7C6-6298-49CF-9E54-6442A65BE7E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56592" y="1644652"/>
            <a:ext cx="7332029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6C9629C-CF41-41C8-B234-06D2B62B58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29" y="5388899"/>
            <a:ext cx="2445068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72ED723-2034-4873-8F5F-84CD3DF067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70AABF26-1E97-4163-9AEB-8A08056A2CF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07D9B8B2-2B26-4659-AFD3-8F852FE9A4D5}" type="datetime1">
              <a:rPr lang="en-GB" smtClean="0"/>
              <a:t>30/11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835125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536905"/>
            <a:ext cx="10590002" cy="4851993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613110" y="906489"/>
            <a:ext cx="3257974" cy="21575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9159BA8D-3D13-45A1-A0BE-92A0162F20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29" y="5388899"/>
            <a:ext cx="10591592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40854D9-4A7F-43DD-ADEE-729ECE38A7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13B009AD-71AF-4311-AB8D-836DCA3740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A2D02C2F-C8D1-4CA6-BC85-74B401D907FB}" type="datetime1">
              <a:rPr lang="en-GB" smtClean="0"/>
              <a:t>30/11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3119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4606533A-C20D-5743-8623-71C0F8E8C41B}" type="datetime1">
              <a:rPr lang="nb-NO" smtClean="0">
                <a:solidFill>
                  <a:prstClr val="black"/>
                </a:solidFill>
              </a:rPr>
              <a:pPr/>
              <a:t>30.11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5557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A48E567-47F5-4B08-99D6-069385ECEC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3950CBF-72E1-4385-99DA-211C9A719C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7029" y="5387834"/>
            <a:ext cx="4074055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D561B5-A7F3-463C-BD8C-C2813F3D37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85578" y="5387835"/>
            <a:ext cx="5703042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8618" y="1644652"/>
            <a:ext cx="4072467" cy="3743181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685578" y="1644652"/>
            <a:ext cx="5703042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5F701B6-51A4-429E-BAE7-303D346C10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2" name="Date_DateCustomA">
            <a:extLst>
              <a:ext uri="{FF2B5EF4-FFF2-40B4-BE49-F238E27FC236}">
                <a16:creationId xmlns:a16="http://schemas.microsoft.com/office/drawing/2014/main" id="{AF6FCEB8-934A-4A77-A838-C33FC03CC5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9317641B-8A6E-4000-8D18-8C26E74C5E0D}" type="datetime1">
              <a:rPr lang="en-GB" smtClean="0"/>
              <a:t>30/11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391244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8" y="452438"/>
            <a:ext cx="10590002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8144935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8" y="5387835"/>
            <a:ext cx="8144935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89424118-58CD-42CA-86D2-8D172442E46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6" y="1644652"/>
            <a:ext cx="1630575" cy="3744248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5AEC6E4-C3EF-4192-856D-9039F171C4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58046" y="5387835"/>
            <a:ext cx="1630575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C5D31929-EC68-4BA9-818F-D9E7F43918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4" name="Date_DateCustomA">
            <a:extLst>
              <a:ext uri="{FF2B5EF4-FFF2-40B4-BE49-F238E27FC236}">
                <a16:creationId xmlns:a16="http://schemas.microsoft.com/office/drawing/2014/main" id="{F7836BF7-FD55-405A-874B-61C805C2E3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49976E51-1FC3-4474-950D-AA48067650FE}" type="datetime1">
              <a:rPr lang="en-GB" smtClean="0"/>
              <a:t>30/11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539399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and fac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AD88E7-3B12-4449-81F1-3C8219EE77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8" y="5387835"/>
            <a:ext cx="3257974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7D20742-1518-4D1C-84E0-A50DB3F71AB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71084" y="5387835"/>
            <a:ext cx="3257974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3257974" cy="3744247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71085" y="1644650"/>
            <a:ext cx="3257973" cy="374424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AD0405A-0FD7-4F0F-AF7F-B2047DF5CF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43552" y="1644390"/>
            <a:ext cx="2445069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18E1753-D849-4306-90F0-AE9E3B1E43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6" name="Date_DateCustomA">
            <a:extLst>
              <a:ext uri="{FF2B5EF4-FFF2-40B4-BE49-F238E27FC236}">
                <a16:creationId xmlns:a16="http://schemas.microsoft.com/office/drawing/2014/main" id="{4824DA6C-1660-454E-AE9F-DA89A04C5D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19B1F6A8-6B7A-461C-8C18-9117AB04685F}" type="datetime1">
              <a:rPr lang="en-GB" smtClean="0"/>
              <a:t>30/11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43023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A0290B9-8984-4B63-9584-E3AE12BC84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8" y="5387835"/>
            <a:ext cx="4886961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A7ABCE10-41F5-4BFF-B780-36E38A40F95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00070" y="5387835"/>
            <a:ext cx="2443482" cy="317908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6B139212-6CFC-41D2-8FC4-04AFFFB5F67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58046" y="5387835"/>
            <a:ext cx="1630575" cy="317907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4886961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500071" y="1644650"/>
            <a:ext cx="2443480" cy="374424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6" y="1644652"/>
            <a:ext cx="1630575" cy="3744248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874BC50-6BE9-4C0E-B354-8E1950E1DE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A27BE1DC-8318-4E12-A678-697DBD2158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670B47BD-1B93-49E8-8F1A-50F28146FAEE}" type="datetime1">
              <a:rPr lang="en-GB" smtClean="0"/>
              <a:t>30/11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996708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69AAF93-6D36-4195-82B9-DF0720EC52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7" y="5387835"/>
            <a:ext cx="5701454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3E2CB951-B63B-4713-9C55-151E8F70764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14564" y="5387835"/>
            <a:ext cx="1628988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4ABF96D0-72C6-404F-8711-EC888AA24B2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58046" y="5387835"/>
            <a:ext cx="1630575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7029" y="1644652"/>
            <a:ext cx="5703042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4564" y="1644650"/>
            <a:ext cx="1628988" cy="374424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6" y="1644652"/>
            <a:ext cx="1630575" cy="3744248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B6ABE9CB-A3E8-48D2-82D8-BB162FBC2A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6" name="Date_DateCustomA">
            <a:extLst>
              <a:ext uri="{FF2B5EF4-FFF2-40B4-BE49-F238E27FC236}">
                <a16:creationId xmlns:a16="http://schemas.microsoft.com/office/drawing/2014/main" id="{F8AC17EF-756D-46C0-9E6D-5F5BC14621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98217C0B-9033-4A97-8B9B-43B4113B467B}" type="datetime1">
              <a:rPr lang="en-GB" smtClean="0"/>
              <a:t>30/11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209163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923A1CA0-6B95-4682-8F2B-A2CB29E9A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29" y="5387835"/>
            <a:ext cx="5703041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F8FEFC5-5B98-4110-A017-739F63CE87B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14565" y="5387835"/>
            <a:ext cx="1628987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ED6E484-ADE4-491D-A306-116A904F427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58046" y="3144372"/>
            <a:ext cx="1630575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1D494126-0696-4DB9-B563-2B5C9722422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58046" y="5387835"/>
            <a:ext cx="1630575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5701453" cy="3744247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4566" y="1644650"/>
            <a:ext cx="1628987" cy="374424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6" y="1644652"/>
            <a:ext cx="1630575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FC1400A-42D9-4C67-90D8-FACAEC662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758046" y="3905375"/>
            <a:ext cx="1630575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4567020D-E32F-49AD-ADAE-9E64ADBB8F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8" name="Date_DateCustomA">
            <a:extLst>
              <a:ext uri="{FF2B5EF4-FFF2-40B4-BE49-F238E27FC236}">
                <a16:creationId xmlns:a16="http://schemas.microsoft.com/office/drawing/2014/main" id="{32279A45-1217-4472-8344-3C0A19130A7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93200B9-2419-488B-B3B4-69557D1FB50C}" type="datetime1">
              <a:rPr lang="en-GB" smtClean="0"/>
              <a:t>30/11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631568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7">
            <a:extLst>
              <a:ext uri="{FF2B5EF4-FFF2-40B4-BE49-F238E27FC236}">
                <a16:creationId xmlns:a16="http://schemas.microsoft.com/office/drawing/2014/main" id="{6DA88F43-D409-4504-A063-DA4B451A4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5701453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30" y="5387835"/>
            <a:ext cx="5703042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A1F7B2BE-FFF8-4897-A35A-DDFEEB4911B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14564" y="3145672"/>
            <a:ext cx="407405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4564" y="1644651"/>
            <a:ext cx="4074056" cy="1483525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35B3C8D-4ACE-428F-8AD3-7A13F1213FD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314566" y="5387835"/>
            <a:ext cx="1628987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7A95160-7865-47B1-BBD0-32DA9C96FEC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58044" y="5387835"/>
            <a:ext cx="163057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E3623DC9-8DA0-4C2E-9B79-E43514C6D03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314566" y="3905374"/>
            <a:ext cx="1628987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FC1400A-42D9-4C67-90D8-FACAEC662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758044" y="3905375"/>
            <a:ext cx="1630576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651A90D8-504E-4DC5-901B-5180BA0DE1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21" name="Date_DateCustomA">
            <a:extLst>
              <a:ext uri="{FF2B5EF4-FFF2-40B4-BE49-F238E27FC236}">
                <a16:creationId xmlns:a16="http://schemas.microsoft.com/office/drawing/2014/main" id="{C64ACC7F-7EC9-4D88-B2D9-4BD783C75A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36191CC-81E4-40E2-A3EA-FD9630412644}" type="datetime1">
              <a:rPr lang="en-GB" smtClean="0"/>
              <a:t>30/11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269398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mages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30" y="5388899"/>
            <a:ext cx="5703042" cy="316843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42DF0A72-5AF0-4ACE-B2DB-4155F465E0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14564" y="3144193"/>
            <a:ext cx="1628988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F958486-0A01-4664-898B-849018028B9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314564" y="5387953"/>
            <a:ext cx="1628988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2AE0D8A-202F-43F6-AB72-839F68F575A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58044" y="3144193"/>
            <a:ext cx="163057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553D49DA-A17B-44D7-8EBB-64C685A230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758044" y="5387953"/>
            <a:ext cx="163057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5701453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4564" y="1644651"/>
            <a:ext cx="1628988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E3623DC9-8DA0-4C2E-9B79-E43514C6D03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314564" y="3905374"/>
            <a:ext cx="1628988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4" y="1644652"/>
            <a:ext cx="1630576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FC1400A-42D9-4C67-90D8-FACAEC662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758045" y="3905375"/>
            <a:ext cx="1630575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itle 7">
            <a:extLst>
              <a:ext uri="{FF2B5EF4-FFF2-40B4-BE49-F238E27FC236}">
                <a16:creationId xmlns:a16="http://schemas.microsoft.com/office/drawing/2014/main" id="{109E8909-9BF2-426F-A556-859081C99C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89EC51AE-5F71-4517-A9E0-7E30DE0DEA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23" name="Date_DateCustomA">
            <a:extLst>
              <a:ext uri="{FF2B5EF4-FFF2-40B4-BE49-F238E27FC236}">
                <a16:creationId xmlns:a16="http://schemas.microsoft.com/office/drawing/2014/main" id="{9986C71A-FB30-4BC3-80B0-20BC541703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178DCDE-D1A1-4EB4-8F09-37541DFBB130}" type="datetime1">
              <a:rPr lang="en-GB" smtClean="0"/>
              <a:t>30/11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683329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mages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29" y="5387953"/>
            <a:ext cx="3259562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F02B0B2F-7F53-4AFC-9446-DB6C5777E6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75849" y="3145672"/>
            <a:ext cx="648677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662756F-E3F0-402D-9E22-0BE6B392C8C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71085" y="5387953"/>
            <a:ext cx="1625812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BE7208CB-CE86-4F3D-B12C-D8268891AA4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314566" y="5387953"/>
            <a:ext cx="1628987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06E02B92-F862-4F76-B8DC-8C3D1FC7F97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758046" y="5387953"/>
            <a:ext cx="1630575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3257974" cy="3744247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71084" y="1644651"/>
            <a:ext cx="6517536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BD840AF9-BBF8-4202-BC96-375E5BEB71AA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871085" y="3905096"/>
            <a:ext cx="1628987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E3623DC9-8DA0-4C2E-9B79-E43514C6D03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314566" y="3905374"/>
            <a:ext cx="1628987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FC1400A-42D9-4C67-90D8-FACAEC662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758045" y="3905375"/>
            <a:ext cx="1630575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Title 7">
            <a:extLst>
              <a:ext uri="{FF2B5EF4-FFF2-40B4-BE49-F238E27FC236}">
                <a16:creationId xmlns:a16="http://schemas.microsoft.com/office/drawing/2014/main" id="{299AE5C6-8512-40FE-B386-E39B56597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DB9DA6D0-8869-4337-BEAF-0ADAFE06FB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24" name="Date_DateCustomA">
            <a:extLst>
              <a:ext uri="{FF2B5EF4-FFF2-40B4-BE49-F238E27FC236}">
                <a16:creationId xmlns:a16="http://schemas.microsoft.com/office/drawing/2014/main" id="{A387D7D7-69FC-41FF-BDFD-687A499B61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5944EB0A-8F31-4F12-A58B-82FA23A642B9}" type="datetime1">
              <a:rPr lang="en-GB" smtClean="0"/>
              <a:t>30/11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065278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/>
          <p:cNvSpPr/>
          <p:nvPr userDrawn="1"/>
        </p:nvSpPr>
        <p:spPr>
          <a:xfrm>
            <a:off x="0" y="0"/>
            <a:ext cx="12191187" cy="68564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-1" y="0"/>
            <a:ext cx="12194787" cy="6860012"/>
          </a:xfrm>
          <a:solidFill>
            <a:srgbClr val="F6F6F4"/>
          </a:solidFill>
        </p:spPr>
        <p:txBody>
          <a:bodyPr tIns="0" anchor="t" anchorCtr="0"/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7034" y="452439"/>
            <a:ext cx="10556574" cy="1056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1C804A56-02C2-4000-8DE1-4C682601C7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98617" y="6158174"/>
            <a:ext cx="1220559" cy="255541"/>
          </a:xfrm>
          <a:custGeom>
            <a:avLst/>
            <a:gdLst>
              <a:gd name="connsiteX0" fmla="*/ 10555461 w 20742935"/>
              <a:gd name="connsiteY0" fmla="*/ 2313797 h 4374000"/>
              <a:gd name="connsiteX1" fmla="*/ 11078393 w 20742935"/>
              <a:gd name="connsiteY1" fmla="*/ 2313797 h 4374000"/>
              <a:gd name="connsiteX2" fmla="*/ 11427013 w 20742935"/>
              <a:gd name="connsiteY2" fmla="*/ 2549249 h 4374000"/>
              <a:gd name="connsiteX3" fmla="*/ 11097761 w 20742935"/>
              <a:gd name="connsiteY3" fmla="*/ 2784701 h 4374000"/>
              <a:gd name="connsiteX4" fmla="*/ 10555461 w 20742935"/>
              <a:gd name="connsiteY4" fmla="*/ 2784701 h 4374000"/>
              <a:gd name="connsiteX5" fmla="*/ 10555461 w 20742935"/>
              <a:gd name="connsiteY5" fmla="*/ 2313797 h 4374000"/>
              <a:gd name="connsiteX6" fmla="*/ 5442357 w 20742935"/>
              <a:gd name="connsiteY6" fmla="*/ 1627063 h 4374000"/>
              <a:gd name="connsiteX7" fmla="*/ 5732875 w 20742935"/>
              <a:gd name="connsiteY7" fmla="*/ 2313797 h 4374000"/>
              <a:gd name="connsiteX8" fmla="*/ 5151840 w 20742935"/>
              <a:gd name="connsiteY8" fmla="*/ 2313797 h 4374000"/>
              <a:gd name="connsiteX9" fmla="*/ 2556552 w 20742935"/>
              <a:gd name="connsiteY9" fmla="*/ 1509337 h 4374000"/>
              <a:gd name="connsiteX10" fmla="*/ 3002012 w 20742935"/>
              <a:gd name="connsiteY10" fmla="*/ 1509337 h 4374000"/>
              <a:gd name="connsiteX11" fmla="*/ 3350633 w 20742935"/>
              <a:gd name="connsiteY11" fmla="*/ 1803652 h 4374000"/>
              <a:gd name="connsiteX12" fmla="*/ 3002012 w 20742935"/>
              <a:gd name="connsiteY12" fmla="*/ 2117588 h 4374000"/>
              <a:gd name="connsiteX13" fmla="*/ 2556552 w 20742935"/>
              <a:gd name="connsiteY13" fmla="*/ 2117588 h 4374000"/>
              <a:gd name="connsiteX14" fmla="*/ 2556552 w 20742935"/>
              <a:gd name="connsiteY14" fmla="*/ 1509337 h 4374000"/>
              <a:gd name="connsiteX15" fmla="*/ 10555461 w 20742935"/>
              <a:gd name="connsiteY15" fmla="*/ 1489716 h 4374000"/>
              <a:gd name="connsiteX16" fmla="*/ 11000921 w 20742935"/>
              <a:gd name="connsiteY16" fmla="*/ 1489716 h 4374000"/>
              <a:gd name="connsiteX17" fmla="*/ 11310807 w 20742935"/>
              <a:gd name="connsiteY17" fmla="*/ 1725168 h 4374000"/>
              <a:gd name="connsiteX18" fmla="*/ 10981553 w 20742935"/>
              <a:gd name="connsiteY18" fmla="*/ 1940999 h 4374000"/>
              <a:gd name="connsiteX19" fmla="*/ 10555461 w 20742935"/>
              <a:gd name="connsiteY19" fmla="*/ 1940999 h 4374000"/>
              <a:gd name="connsiteX20" fmla="*/ 10555461 w 20742935"/>
              <a:gd name="connsiteY20" fmla="*/ 1489716 h 4374000"/>
              <a:gd name="connsiteX21" fmla="*/ 10342417 w 20742935"/>
              <a:gd name="connsiteY21" fmla="*/ 1097297 h 4374000"/>
              <a:gd name="connsiteX22" fmla="*/ 10110001 w 20742935"/>
              <a:gd name="connsiteY22" fmla="*/ 1332749 h 4374000"/>
              <a:gd name="connsiteX23" fmla="*/ 10110001 w 20742935"/>
              <a:gd name="connsiteY23" fmla="*/ 2941669 h 4374000"/>
              <a:gd name="connsiteX24" fmla="*/ 10342417 w 20742935"/>
              <a:gd name="connsiteY24" fmla="*/ 3177120 h 4374000"/>
              <a:gd name="connsiteX25" fmla="*/ 11097761 w 20742935"/>
              <a:gd name="connsiteY25" fmla="*/ 3177120 h 4374000"/>
              <a:gd name="connsiteX26" fmla="*/ 11872473 w 20742935"/>
              <a:gd name="connsiteY26" fmla="*/ 2608112 h 4374000"/>
              <a:gd name="connsiteX27" fmla="*/ 11485117 w 20742935"/>
              <a:gd name="connsiteY27" fmla="*/ 2097967 h 4374000"/>
              <a:gd name="connsiteX28" fmla="*/ 11756267 w 20742935"/>
              <a:gd name="connsiteY28" fmla="*/ 1627063 h 4374000"/>
              <a:gd name="connsiteX29" fmla="*/ 11620693 w 20742935"/>
              <a:gd name="connsiteY29" fmla="*/ 1273886 h 4374000"/>
              <a:gd name="connsiteX30" fmla="*/ 11078393 w 20742935"/>
              <a:gd name="connsiteY30" fmla="*/ 1097297 h 4374000"/>
              <a:gd name="connsiteX31" fmla="*/ 2324139 w 20742935"/>
              <a:gd name="connsiteY31" fmla="*/ 1097297 h 4374000"/>
              <a:gd name="connsiteX32" fmla="*/ 2091725 w 20742935"/>
              <a:gd name="connsiteY32" fmla="*/ 1332749 h 4374000"/>
              <a:gd name="connsiteX33" fmla="*/ 2091725 w 20742935"/>
              <a:gd name="connsiteY33" fmla="*/ 2961290 h 4374000"/>
              <a:gd name="connsiteX34" fmla="*/ 2324139 w 20742935"/>
              <a:gd name="connsiteY34" fmla="*/ 3196741 h 4374000"/>
              <a:gd name="connsiteX35" fmla="*/ 2556552 w 20742935"/>
              <a:gd name="connsiteY35" fmla="*/ 2961290 h 4374000"/>
              <a:gd name="connsiteX36" fmla="*/ 2556552 w 20742935"/>
              <a:gd name="connsiteY36" fmla="*/ 2510007 h 4374000"/>
              <a:gd name="connsiteX37" fmla="*/ 2905173 w 20742935"/>
              <a:gd name="connsiteY37" fmla="*/ 2510007 h 4374000"/>
              <a:gd name="connsiteX38" fmla="*/ 3350633 w 20742935"/>
              <a:gd name="connsiteY38" fmla="*/ 3079016 h 4374000"/>
              <a:gd name="connsiteX39" fmla="*/ 3563679 w 20742935"/>
              <a:gd name="connsiteY39" fmla="*/ 3196741 h 4374000"/>
              <a:gd name="connsiteX40" fmla="*/ 3796093 w 20742935"/>
              <a:gd name="connsiteY40" fmla="*/ 2980911 h 4374000"/>
              <a:gd name="connsiteX41" fmla="*/ 3718621 w 20742935"/>
              <a:gd name="connsiteY41" fmla="*/ 2804322 h 4374000"/>
              <a:gd name="connsiteX42" fmla="*/ 3408736 w 20742935"/>
              <a:gd name="connsiteY42" fmla="*/ 2431523 h 4374000"/>
              <a:gd name="connsiteX43" fmla="*/ 3815461 w 20742935"/>
              <a:gd name="connsiteY43" fmla="*/ 1784031 h 4374000"/>
              <a:gd name="connsiteX44" fmla="*/ 3641150 w 20742935"/>
              <a:gd name="connsiteY44" fmla="*/ 1313128 h 4374000"/>
              <a:gd name="connsiteX45" fmla="*/ 3040748 w 20742935"/>
              <a:gd name="connsiteY45" fmla="*/ 1097297 h 4374000"/>
              <a:gd name="connsiteX46" fmla="*/ 2324139 w 20742935"/>
              <a:gd name="connsiteY46" fmla="*/ 1097297 h 4374000"/>
              <a:gd name="connsiteX47" fmla="*/ 17799025 w 20742935"/>
              <a:gd name="connsiteY47" fmla="*/ 1077676 h 4374000"/>
              <a:gd name="connsiteX48" fmla="*/ 17585981 w 20742935"/>
              <a:gd name="connsiteY48" fmla="*/ 1313128 h 4374000"/>
              <a:gd name="connsiteX49" fmla="*/ 17585981 w 20742935"/>
              <a:gd name="connsiteY49" fmla="*/ 2941669 h 4374000"/>
              <a:gd name="connsiteX50" fmla="*/ 17799025 w 20742935"/>
              <a:gd name="connsiteY50" fmla="*/ 3177120 h 4374000"/>
              <a:gd name="connsiteX51" fmla="*/ 18883625 w 20742935"/>
              <a:gd name="connsiteY51" fmla="*/ 3177120 h 4374000"/>
              <a:gd name="connsiteX52" fmla="*/ 19077301 w 20742935"/>
              <a:gd name="connsiteY52" fmla="*/ 2980911 h 4374000"/>
              <a:gd name="connsiteX53" fmla="*/ 18883625 w 20742935"/>
              <a:gd name="connsiteY53" fmla="*/ 2765080 h 4374000"/>
              <a:gd name="connsiteX54" fmla="*/ 18031441 w 20742935"/>
              <a:gd name="connsiteY54" fmla="*/ 2765080 h 4374000"/>
              <a:gd name="connsiteX55" fmla="*/ 18031441 w 20742935"/>
              <a:gd name="connsiteY55" fmla="*/ 1313128 h 4374000"/>
              <a:gd name="connsiteX56" fmla="*/ 17799025 w 20742935"/>
              <a:gd name="connsiteY56" fmla="*/ 1077676 h 4374000"/>
              <a:gd name="connsiteX57" fmla="*/ 15707301 w 20742935"/>
              <a:gd name="connsiteY57" fmla="*/ 1077676 h 4374000"/>
              <a:gd name="connsiteX58" fmla="*/ 15474889 w 20742935"/>
              <a:gd name="connsiteY58" fmla="*/ 1313128 h 4374000"/>
              <a:gd name="connsiteX59" fmla="*/ 15474889 w 20742935"/>
              <a:gd name="connsiteY59" fmla="*/ 2941669 h 4374000"/>
              <a:gd name="connsiteX60" fmla="*/ 15707301 w 20742935"/>
              <a:gd name="connsiteY60" fmla="*/ 3177120 h 4374000"/>
              <a:gd name="connsiteX61" fmla="*/ 16772533 w 20742935"/>
              <a:gd name="connsiteY61" fmla="*/ 3177120 h 4374000"/>
              <a:gd name="connsiteX62" fmla="*/ 16985577 w 20742935"/>
              <a:gd name="connsiteY62" fmla="*/ 2980911 h 4374000"/>
              <a:gd name="connsiteX63" fmla="*/ 16772533 w 20742935"/>
              <a:gd name="connsiteY63" fmla="*/ 2765080 h 4374000"/>
              <a:gd name="connsiteX64" fmla="*/ 15939717 w 20742935"/>
              <a:gd name="connsiteY64" fmla="*/ 2765080 h 4374000"/>
              <a:gd name="connsiteX65" fmla="*/ 15939717 w 20742935"/>
              <a:gd name="connsiteY65" fmla="*/ 1313128 h 4374000"/>
              <a:gd name="connsiteX66" fmla="*/ 15707301 w 20742935"/>
              <a:gd name="connsiteY66" fmla="*/ 1077676 h 4374000"/>
              <a:gd name="connsiteX67" fmla="*/ 7417875 w 20742935"/>
              <a:gd name="connsiteY67" fmla="*/ 1077676 h 4374000"/>
              <a:gd name="connsiteX68" fmla="*/ 7166093 w 20742935"/>
              <a:gd name="connsiteY68" fmla="*/ 1293507 h 4374000"/>
              <a:gd name="connsiteX69" fmla="*/ 7166093 w 20742935"/>
              <a:gd name="connsiteY69" fmla="*/ 2961290 h 4374000"/>
              <a:gd name="connsiteX70" fmla="*/ 7398507 w 20742935"/>
              <a:gd name="connsiteY70" fmla="*/ 3196741 h 4374000"/>
              <a:gd name="connsiteX71" fmla="*/ 7611553 w 20742935"/>
              <a:gd name="connsiteY71" fmla="*/ 2961290 h 4374000"/>
              <a:gd name="connsiteX72" fmla="*/ 7611553 w 20742935"/>
              <a:gd name="connsiteY72" fmla="*/ 1940999 h 4374000"/>
              <a:gd name="connsiteX73" fmla="*/ 7998909 w 20742935"/>
              <a:gd name="connsiteY73" fmla="*/ 2549249 h 4374000"/>
              <a:gd name="connsiteX74" fmla="*/ 8192589 w 20742935"/>
              <a:gd name="connsiteY74" fmla="*/ 2666975 h 4374000"/>
              <a:gd name="connsiteX75" fmla="*/ 8386265 w 20742935"/>
              <a:gd name="connsiteY75" fmla="*/ 2549249 h 4374000"/>
              <a:gd name="connsiteX76" fmla="*/ 8773621 w 20742935"/>
              <a:gd name="connsiteY76" fmla="*/ 1921378 h 4374000"/>
              <a:gd name="connsiteX77" fmla="*/ 8773621 w 20742935"/>
              <a:gd name="connsiteY77" fmla="*/ 2961290 h 4374000"/>
              <a:gd name="connsiteX78" fmla="*/ 9006037 w 20742935"/>
              <a:gd name="connsiteY78" fmla="*/ 3196741 h 4374000"/>
              <a:gd name="connsiteX79" fmla="*/ 9238449 w 20742935"/>
              <a:gd name="connsiteY79" fmla="*/ 2961290 h 4374000"/>
              <a:gd name="connsiteX80" fmla="*/ 9238449 w 20742935"/>
              <a:gd name="connsiteY80" fmla="*/ 1293507 h 4374000"/>
              <a:gd name="connsiteX81" fmla="*/ 8986669 w 20742935"/>
              <a:gd name="connsiteY81" fmla="*/ 1077676 h 4374000"/>
              <a:gd name="connsiteX82" fmla="*/ 8734887 w 20742935"/>
              <a:gd name="connsiteY82" fmla="*/ 1215023 h 4374000"/>
              <a:gd name="connsiteX83" fmla="*/ 8211955 w 20742935"/>
              <a:gd name="connsiteY83" fmla="*/ 2097967 h 4374000"/>
              <a:gd name="connsiteX84" fmla="*/ 7669657 w 20742935"/>
              <a:gd name="connsiteY84" fmla="*/ 1215023 h 4374000"/>
              <a:gd name="connsiteX85" fmla="*/ 7417875 w 20742935"/>
              <a:gd name="connsiteY85" fmla="*/ 1077676 h 4374000"/>
              <a:gd name="connsiteX86" fmla="*/ 5461725 w 20742935"/>
              <a:gd name="connsiteY86" fmla="*/ 1058055 h 4374000"/>
              <a:gd name="connsiteX87" fmla="*/ 5171208 w 20742935"/>
              <a:gd name="connsiteY87" fmla="*/ 1234644 h 4374000"/>
              <a:gd name="connsiteX88" fmla="*/ 4454599 w 20742935"/>
              <a:gd name="connsiteY88" fmla="*/ 2882806 h 4374000"/>
              <a:gd name="connsiteX89" fmla="*/ 4435231 w 20742935"/>
              <a:gd name="connsiteY89" fmla="*/ 3000532 h 4374000"/>
              <a:gd name="connsiteX90" fmla="*/ 4648277 w 20742935"/>
              <a:gd name="connsiteY90" fmla="*/ 3196741 h 4374000"/>
              <a:gd name="connsiteX91" fmla="*/ 4841955 w 20742935"/>
              <a:gd name="connsiteY91" fmla="*/ 3059395 h 4374000"/>
              <a:gd name="connsiteX92" fmla="*/ 4996897 w 20742935"/>
              <a:gd name="connsiteY92" fmla="*/ 2706217 h 4374000"/>
              <a:gd name="connsiteX93" fmla="*/ 5907185 w 20742935"/>
              <a:gd name="connsiteY93" fmla="*/ 2706217 h 4374000"/>
              <a:gd name="connsiteX94" fmla="*/ 6042760 w 20742935"/>
              <a:gd name="connsiteY94" fmla="*/ 3059395 h 4374000"/>
              <a:gd name="connsiteX95" fmla="*/ 6255805 w 20742935"/>
              <a:gd name="connsiteY95" fmla="*/ 3196741 h 4374000"/>
              <a:gd name="connsiteX96" fmla="*/ 6468853 w 20742935"/>
              <a:gd name="connsiteY96" fmla="*/ 3000532 h 4374000"/>
              <a:gd name="connsiteX97" fmla="*/ 6449485 w 20742935"/>
              <a:gd name="connsiteY97" fmla="*/ 2882806 h 4374000"/>
              <a:gd name="connsiteX98" fmla="*/ 5732875 w 20742935"/>
              <a:gd name="connsiteY98" fmla="*/ 1234644 h 4374000"/>
              <a:gd name="connsiteX99" fmla="*/ 5461725 w 20742935"/>
              <a:gd name="connsiteY99" fmla="*/ 1058055 h 4374000"/>
              <a:gd name="connsiteX100" fmla="*/ 847119 w 20742935"/>
              <a:gd name="connsiteY100" fmla="*/ 0 h 4374000"/>
              <a:gd name="connsiteX101" fmla="*/ 14021983 w 20742935"/>
              <a:gd name="connsiteY101" fmla="*/ 0 h 4374000"/>
              <a:gd name="connsiteX102" fmla="*/ 14021847 w 20742935"/>
              <a:gd name="connsiteY102" fmla="*/ 630 h 4374000"/>
              <a:gd name="connsiteX103" fmla="*/ 13789889 w 20742935"/>
              <a:gd name="connsiteY103" fmla="*/ 1077676 h 4374000"/>
              <a:gd name="connsiteX104" fmla="*/ 13615577 w 20742935"/>
              <a:gd name="connsiteY104" fmla="*/ 1058055 h 4374000"/>
              <a:gd name="connsiteX105" fmla="*/ 12511613 w 20742935"/>
              <a:gd name="connsiteY105" fmla="*/ 2137209 h 4374000"/>
              <a:gd name="connsiteX106" fmla="*/ 13596209 w 20742935"/>
              <a:gd name="connsiteY106" fmla="*/ 3216362 h 4374000"/>
              <a:gd name="connsiteX107" fmla="*/ 14700175 w 20742935"/>
              <a:gd name="connsiteY107" fmla="*/ 2137209 h 4374000"/>
              <a:gd name="connsiteX108" fmla="*/ 14583969 w 20742935"/>
              <a:gd name="connsiteY108" fmla="*/ 1646684 h 4374000"/>
              <a:gd name="connsiteX109" fmla="*/ 14196613 w 20742935"/>
              <a:gd name="connsiteY109" fmla="*/ 1940999 h 4374000"/>
              <a:gd name="connsiteX110" fmla="*/ 14235349 w 20742935"/>
              <a:gd name="connsiteY110" fmla="*/ 2137209 h 4374000"/>
              <a:gd name="connsiteX111" fmla="*/ 13615577 w 20742935"/>
              <a:gd name="connsiteY111" fmla="*/ 2784701 h 4374000"/>
              <a:gd name="connsiteX112" fmla="*/ 12976439 w 20742935"/>
              <a:gd name="connsiteY112" fmla="*/ 2137209 h 4374000"/>
              <a:gd name="connsiteX113" fmla="*/ 13596209 w 20742935"/>
              <a:gd name="connsiteY113" fmla="*/ 1489716 h 4374000"/>
              <a:gd name="connsiteX114" fmla="*/ 13693049 w 20742935"/>
              <a:gd name="connsiteY114" fmla="*/ 1489716 h 4374000"/>
              <a:gd name="connsiteX115" fmla="*/ 13518737 w 20742935"/>
              <a:gd name="connsiteY115" fmla="*/ 2274556 h 4374000"/>
              <a:gd name="connsiteX116" fmla="*/ 13576841 w 20742935"/>
              <a:gd name="connsiteY116" fmla="*/ 2313797 h 4374000"/>
              <a:gd name="connsiteX117" fmla="*/ 15302449 w 20742935"/>
              <a:gd name="connsiteY117" fmla="*/ 208867 h 4374000"/>
              <a:gd name="connsiteX118" fmla="*/ 15473677 w 20742935"/>
              <a:gd name="connsiteY118" fmla="*/ 0 h 4374000"/>
              <a:gd name="connsiteX119" fmla="*/ 19895817 w 20742935"/>
              <a:gd name="connsiteY119" fmla="*/ 0 h 4374000"/>
              <a:gd name="connsiteX120" fmla="*/ 20086775 w 20742935"/>
              <a:gd name="connsiteY120" fmla="*/ 11552 h 4374000"/>
              <a:gd name="connsiteX121" fmla="*/ 20739957 w 20742935"/>
              <a:gd name="connsiteY121" fmla="*/ 787481 h 4374000"/>
              <a:gd name="connsiteX122" fmla="*/ 20742935 w 20742935"/>
              <a:gd name="connsiteY122" fmla="*/ 901016 h 4374000"/>
              <a:gd name="connsiteX123" fmla="*/ 20742935 w 20742935"/>
              <a:gd name="connsiteY123" fmla="*/ 3471506 h 4374000"/>
              <a:gd name="connsiteX124" fmla="*/ 20739957 w 20742935"/>
              <a:gd name="connsiteY124" fmla="*/ 3585041 h 4374000"/>
              <a:gd name="connsiteX125" fmla="*/ 19871385 w 20742935"/>
              <a:gd name="connsiteY125" fmla="*/ 4374000 h 4374000"/>
              <a:gd name="connsiteX126" fmla="*/ 871552 w 20742935"/>
              <a:gd name="connsiteY126" fmla="*/ 4374000 h 4374000"/>
              <a:gd name="connsiteX127" fmla="*/ 0 w 20742935"/>
              <a:gd name="connsiteY127" fmla="*/ 3471435 h 4374000"/>
              <a:gd name="connsiteX128" fmla="*/ 0 w 20742935"/>
              <a:gd name="connsiteY128" fmla="*/ 901087 h 4374000"/>
              <a:gd name="connsiteX129" fmla="*/ 656161 w 20742935"/>
              <a:gd name="connsiteY129" fmla="*/ 11552 h 437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20742935" h="4374000">
                <a:moveTo>
                  <a:pt x="10555461" y="2313797"/>
                </a:moveTo>
                <a:cubicBezTo>
                  <a:pt x="10555461" y="2313797"/>
                  <a:pt x="10555461" y="2313797"/>
                  <a:pt x="11078393" y="2313797"/>
                </a:cubicBezTo>
                <a:cubicBezTo>
                  <a:pt x="11310807" y="2313797"/>
                  <a:pt x="11427013" y="2411902"/>
                  <a:pt x="11427013" y="2549249"/>
                </a:cubicBezTo>
                <a:cubicBezTo>
                  <a:pt x="11427013" y="2706217"/>
                  <a:pt x="11291439" y="2784701"/>
                  <a:pt x="11097761" y="2784701"/>
                </a:cubicBezTo>
                <a:cubicBezTo>
                  <a:pt x="11097761" y="2784701"/>
                  <a:pt x="11097761" y="2784701"/>
                  <a:pt x="10555461" y="2784701"/>
                </a:cubicBezTo>
                <a:cubicBezTo>
                  <a:pt x="10555461" y="2784701"/>
                  <a:pt x="10555461" y="2784701"/>
                  <a:pt x="10555461" y="2313797"/>
                </a:cubicBezTo>
                <a:close/>
                <a:moveTo>
                  <a:pt x="5442357" y="1627063"/>
                </a:moveTo>
                <a:cubicBezTo>
                  <a:pt x="5442357" y="1627063"/>
                  <a:pt x="5442357" y="1627063"/>
                  <a:pt x="5732875" y="2313797"/>
                </a:cubicBezTo>
                <a:cubicBezTo>
                  <a:pt x="5732875" y="2313797"/>
                  <a:pt x="5732875" y="2313797"/>
                  <a:pt x="5151840" y="2313797"/>
                </a:cubicBezTo>
                <a:close/>
                <a:moveTo>
                  <a:pt x="2556552" y="1509337"/>
                </a:moveTo>
                <a:cubicBezTo>
                  <a:pt x="2556552" y="1509337"/>
                  <a:pt x="2556552" y="1509337"/>
                  <a:pt x="3002012" y="1509337"/>
                </a:cubicBezTo>
                <a:cubicBezTo>
                  <a:pt x="3215058" y="1509337"/>
                  <a:pt x="3350633" y="1607442"/>
                  <a:pt x="3350633" y="1803652"/>
                </a:cubicBezTo>
                <a:cubicBezTo>
                  <a:pt x="3350633" y="1980241"/>
                  <a:pt x="3234426" y="2117588"/>
                  <a:pt x="3002012" y="2117588"/>
                </a:cubicBezTo>
                <a:cubicBezTo>
                  <a:pt x="3002012" y="2117588"/>
                  <a:pt x="3002012" y="2117588"/>
                  <a:pt x="2556552" y="2117588"/>
                </a:cubicBezTo>
                <a:cubicBezTo>
                  <a:pt x="2556552" y="2117588"/>
                  <a:pt x="2556552" y="2117588"/>
                  <a:pt x="2556552" y="1509337"/>
                </a:cubicBezTo>
                <a:close/>
                <a:moveTo>
                  <a:pt x="10555461" y="1489716"/>
                </a:moveTo>
                <a:cubicBezTo>
                  <a:pt x="10555461" y="1489716"/>
                  <a:pt x="10555461" y="1489716"/>
                  <a:pt x="11000921" y="1489716"/>
                </a:cubicBezTo>
                <a:cubicBezTo>
                  <a:pt x="11194601" y="1489716"/>
                  <a:pt x="11310807" y="1568200"/>
                  <a:pt x="11310807" y="1725168"/>
                </a:cubicBezTo>
                <a:cubicBezTo>
                  <a:pt x="11310807" y="1882136"/>
                  <a:pt x="11175233" y="1940999"/>
                  <a:pt x="10981553" y="1940999"/>
                </a:cubicBezTo>
                <a:cubicBezTo>
                  <a:pt x="10981553" y="1940999"/>
                  <a:pt x="10981553" y="1940999"/>
                  <a:pt x="10555461" y="1940999"/>
                </a:cubicBezTo>
                <a:cubicBezTo>
                  <a:pt x="10555461" y="1940999"/>
                  <a:pt x="10555461" y="1940999"/>
                  <a:pt x="10555461" y="1489716"/>
                </a:cubicBezTo>
                <a:close/>
                <a:moveTo>
                  <a:pt x="10342417" y="1097297"/>
                </a:moveTo>
                <a:cubicBezTo>
                  <a:pt x="10206841" y="1097297"/>
                  <a:pt x="10110001" y="1175781"/>
                  <a:pt x="10110001" y="1332749"/>
                </a:cubicBezTo>
                <a:cubicBezTo>
                  <a:pt x="10110001" y="1332749"/>
                  <a:pt x="10110001" y="1332749"/>
                  <a:pt x="10110001" y="2941669"/>
                </a:cubicBezTo>
                <a:cubicBezTo>
                  <a:pt x="10110001" y="3098637"/>
                  <a:pt x="10206841" y="3177120"/>
                  <a:pt x="10342417" y="3177120"/>
                </a:cubicBezTo>
                <a:cubicBezTo>
                  <a:pt x="10342417" y="3177120"/>
                  <a:pt x="10342417" y="3177120"/>
                  <a:pt x="11097761" y="3177120"/>
                </a:cubicBezTo>
                <a:cubicBezTo>
                  <a:pt x="11562589" y="3177120"/>
                  <a:pt x="11872473" y="3000532"/>
                  <a:pt x="11872473" y="2608112"/>
                </a:cubicBezTo>
                <a:cubicBezTo>
                  <a:pt x="11872473" y="2313797"/>
                  <a:pt x="11717531" y="2176451"/>
                  <a:pt x="11485117" y="2097967"/>
                </a:cubicBezTo>
                <a:cubicBezTo>
                  <a:pt x="11640061" y="1999862"/>
                  <a:pt x="11756267" y="1882136"/>
                  <a:pt x="11756267" y="1627063"/>
                </a:cubicBezTo>
                <a:cubicBezTo>
                  <a:pt x="11756267" y="1489716"/>
                  <a:pt x="11717531" y="1371991"/>
                  <a:pt x="11620693" y="1273886"/>
                </a:cubicBezTo>
                <a:cubicBezTo>
                  <a:pt x="11504485" y="1156160"/>
                  <a:pt x="11310807" y="1097297"/>
                  <a:pt x="11078393" y="1097297"/>
                </a:cubicBezTo>
                <a:close/>
                <a:moveTo>
                  <a:pt x="2324139" y="1097297"/>
                </a:moveTo>
                <a:cubicBezTo>
                  <a:pt x="2188564" y="1097297"/>
                  <a:pt x="2091725" y="1175781"/>
                  <a:pt x="2091725" y="1332749"/>
                </a:cubicBezTo>
                <a:lnTo>
                  <a:pt x="2091725" y="2961290"/>
                </a:lnTo>
                <a:cubicBezTo>
                  <a:pt x="2091725" y="3118258"/>
                  <a:pt x="2188564" y="3196741"/>
                  <a:pt x="2324139" y="3196741"/>
                </a:cubicBezTo>
                <a:cubicBezTo>
                  <a:pt x="2459713" y="3196741"/>
                  <a:pt x="2556552" y="3118258"/>
                  <a:pt x="2556552" y="2961290"/>
                </a:cubicBezTo>
                <a:cubicBezTo>
                  <a:pt x="2556552" y="2961290"/>
                  <a:pt x="2556552" y="2961290"/>
                  <a:pt x="2556552" y="2510007"/>
                </a:cubicBezTo>
                <a:cubicBezTo>
                  <a:pt x="2556552" y="2510007"/>
                  <a:pt x="2556552" y="2510007"/>
                  <a:pt x="2905173" y="2510007"/>
                </a:cubicBezTo>
                <a:cubicBezTo>
                  <a:pt x="2905173" y="2510007"/>
                  <a:pt x="2905173" y="2510007"/>
                  <a:pt x="3350633" y="3079016"/>
                </a:cubicBezTo>
                <a:cubicBezTo>
                  <a:pt x="3408736" y="3157500"/>
                  <a:pt x="3466840" y="3196741"/>
                  <a:pt x="3563679" y="3196741"/>
                </a:cubicBezTo>
                <a:cubicBezTo>
                  <a:pt x="3679886" y="3196741"/>
                  <a:pt x="3796093" y="3098637"/>
                  <a:pt x="3796093" y="2980911"/>
                </a:cubicBezTo>
                <a:cubicBezTo>
                  <a:pt x="3796093" y="2902427"/>
                  <a:pt x="3757357" y="2863185"/>
                  <a:pt x="3718621" y="2804322"/>
                </a:cubicBezTo>
                <a:cubicBezTo>
                  <a:pt x="3718621" y="2804322"/>
                  <a:pt x="3718621" y="2804322"/>
                  <a:pt x="3408736" y="2431523"/>
                </a:cubicBezTo>
                <a:cubicBezTo>
                  <a:pt x="3660518" y="2313797"/>
                  <a:pt x="3815461" y="2117588"/>
                  <a:pt x="3815461" y="1784031"/>
                </a:cubicBezTo>
                <a:cubicBezTo>
                  <a:pt x="3815461" y="1587821"/>
                  <a:pt x="3757357" y="1430854"/>
                  <a:pt x="3641150" y="1313128"/>
                </a:cubicBezTo>
                <a:cubicBezTo>
                  <a:pt x="3505575" y="1175781"/>
                  <a:pt x="3311897" y="1097297"/>
                  <a:pt x="3040748" y="1097297"/>
                </a:cubicBezTo>
                <a:cubicBezTo>
                  <a:pt x="3040748" y="1097297"/>
                  <a:pt x="3040748" y="1097297"/>
                  <a:pt x="2324139" y="1097297"/>
                </a:cubicBezTo>
                <a:close/>
                <a:moveTo>
                  <a:pt x="17799025" y="1077676"/>
                </a:moveTo>
                <a:cubicBezTo>
                  <a:pt x="17682821" y="1077676"/>
                  <a:pt x="17585981" y="1156160"/>
                  <a:pt x="17585981" y="1313128"/>
                </a:cubicBezTo>
                <a:cubicBezTo>
                  <a:pt x="17585981" y="1313128"/>
                  <a:pt x="17585981" y="1313128"/>
                  <a:pt x="17585981" y="2941669"/>
                </a:cubicBezTo>
                <a:cubicBezTo>
                  <a:pt x="17585981" y="3098637"/>
                  <a:pt x="17682821" y="3177120"/>
                  <a:pt x="17799025" y="3177120"/>
                </a:cubicBezTo>
                <a:lnTo>
                  <a:pt x="18883625" y="3177120"/>
                </a:lnTo>
                <a:cubicBezTo>
                  <a:pt x="18999833" y="3177120"/>
                  <a:pt x="19077301" y="3098637"/>
                  <a:pt x="19077301" y="2980911"/>
                </a:cubicBezTo>
                <a:cubicBezTo>
                  <a:pt x="19077301" y="2843564"/>
                  <a:pt x="18999833" y="2765080"/>
                  <a:pt x="18883625" y="2765080"/>
                </a:cubicBezTo>
                <a:cubicBezTo>
                  <a:pt x="18883625" y="2765080"/>
                  <a:pt x="18883625" y="2765080"/>
                  <a:pt x="18031441" y="2765080"/>
                </a:cubicBezTo>
                <a:cubicBezTo>
                  <a:pt x="18031441" y="2765080"/>
                  <a:pt x="18031441" y="2765080"/>
                  <a:pt x="18031441" y="1313128"/>
                </a:cubicBezTo>
                <a:cubicBezTo>
                  <a:pt x="18031441" y="1156160"/>
                  <a:pt x="17934601" y="1077676"/>
                  <a:pt x="17799025" y="1077676"/>
                </a:cubicBezTo>
                <a:close/>
                <a:moveTo>
                  <a:pt x="15707301" y="1077676"/>
                </a:moveTo>
                <a:cubicBezTo>
                  <a:pt x="15571727" y="1077676"/>
                  <a:pt x="15474889" y="1156160"/>
                  <a:pt x="15474889" y="1313128"/>
                </a:cubicBezTo>
                <a:cubicBezTo>
                  <a:pt x="15474889" y="1313128"/>
                  <a:pt x="15474889" y="1313128"/>
                  <a:pt x="15474889" y="2941669"/>
                </a:cubicBezTo>
                <a:cubicBezTo>
                  <a:pt x="15474889" y="3098637"/>
                  <a:pt x="15571727" y="3177120"/>
                  <a:pt x="15707301" y="3177120"/>
                </a:cubicBezTo>
                <a:lnTo>
                  <a:pt x="16772533" y="3177120"/>
                </a:lnTo>
                <a:cubicBezTo>
                  <a:pt x="16888737" y="3177120"/>
                  <a:pt x="16985577" y="3098637"/>
                  <a:pt x="16985577" y="2980911"/>
                </a:cubicBezTo>
                <a:cubicBezTo>
                  <a:pt x="16985577" y="2843564"/>
                  <a:pt x="16888737" y="2765080"/>
                  <a:pt x="16772533" y="2765080"/>
                </a:cubicBezTo>
                <a:cubicBezTo>
                  <a:pt x="16772533" y="2765080"/>
                  <a:pt x="16772533" y="2765080"/>
                  <a:pt x="15939717" y="2765080"/>
                </a:cubicBezTo>
                <a:cubicBezTo>
                  <a:pt x="15939717" y="2765080"/>
                  <a:pt x="15939717" y="2765080"/>
                  <a:pt x="15939717" y="1313128"/>
                </a:cubicBezTo>
                <a:cubicBezTo>
                  <a:pt x="15939717" y="1156160"/>
                  <a:pt x="15842877" y="1077676"/>
                  <a:pt x="15707301" y="1077676"/>
                </a:cubicBezTo>
                <a:close/>
                <a:moveTo>
                  <a:pt x="7417875" y="1077676"/>
                </a:moveTo>
                <a:cubicBezTo>
                  <a:pt x="7301669" y="1077676"/>
                  <a:pt x="7166093" y="1156160"/>
                  <a:pt x="7166093" y="1293507"/>
                </a:cubicBezTo>
                <a:cubicBezTo>
                  <a:pt x="7166093" y="1293507"/>
                  <a:pt x="7166093" y="1293507"/>
                  <a:pt x="7166093" y="2961290"/>
                </a:cubicBezTo>
                <a:cubicBezTo>
                  <a:pt x="7166093" y="3118258"/>
                  <a:pt x="7262933" y="3196741"/>
                  <a:pt x="7398507" y="3196741"/>
                </a:cubicBezTo>
                <a:cubicBezTo>
                  <a:pt x="7514713" y="3196741"/>
                  <a:pt x="7611553" y="3118258"/>
                  <a:pt x="7611553" y="2961290"/>
                </a:cubicBezTo>
                <a:cubicBezTo>
                  <a:pt x="7611553" y="2961290"/>
                  <a:pt x="7611553" y="2961290"/>
                  <a:pt x="7611553" y="1940999"/>
                </a:cubicBezTo>
                <a:cubicBezTo>
                  <a:pt x="7611553" y="1940999"/>
                  <a:pt x="7611553" y="1940999"/>
                  <a:pt x="7998909" y="2549249"/>
                </a:cubicBezTo>
                <a:cubicBezTo>
                  <a:pt x="8057013" y="2627733"/>
                  <a:pt x="8115117" y="2666975"/>
                  <a:pt x="8192589" y="2666975"/>
                </a:cubicBezTo>
                <a:cubicBezTo>
                  <a:pt x="8289427" y="2666975"/>
                  <a:pt x="8347531" y="2627733"/>
                  <a:pt x="8386265" y="2549249"/>
                </a:cubicBezTo>
                <a:cubicBezTo>
                  <a:pt x="8386265" y="2549249"/>
                  <a:pt x="8386265" y="2549249"/>
                  <a:pt x="8773621" y="1921378"/>
                </a:cubicBezTo>
                <a:cubicBezTo>
                  <a:pt x="8773621" y="1921378"/>
                  <a:pt x="8773621" y="1921378"/>
                  <a:pt x="8773621" y="2961290"/>
                </a:cubicBezTo>
                <a:cubicBezTo>
                  <a:pt x="8773621" y="3118258"/>
                  <a:pt x="8870461" y="3196741"/>
                  <a:pt x="9006037" y="3196741"/>
                </a:cubicBezTo>
                <a:cubicBezTo>
                  <a:pt x="9141611" y="3196741"/>
                  <a:pt x="9238449" y="3118258"/>
                  <a:pt x="9238449" y="2961290"/>
                </a:cubicBezTo>
                <a:lnTo>
                  <a:pt x="9238449" y="1293507"/>
                </a:lnTo>
                <a:cubicBezTo>
                  <a:pt x="9238449" y="1156160"/>
                  <a:pt x="9102875" y="1077676"/>
                  <a:pt x="8986669" y="1077676"/>
                </a:cubicBezTo>
                <a:cubicBezTo>
                  <a:pt x="8870461" y="1077676"/>
                  <a:pt x="8792989" y="1116918"/>
                  <a:pt x="8734887" y="1215023"/>
                </a:cubicBezTo>
                <a:cubicBezTo>
                  <a:pt x="8734887" y="1215023"/>
                  <a:pt x="8734887" y="1215023"/>
                  <a:pt x="8211955" y="2097967"/>
                </a:cubicBezTo>
                <a:cubicBezTo>
                  <a:pt x="8211955" y="2097967"/>
                  <a:pt x="8211955" y="2097967"/>
                  <a:pt x="7669657" y="1215023"/>
                </a:cubicBezTo>
                <a:cubicBezTo>
                  <a:pt x="7611553" y="1116918"/>
                  <a:pt x="7534081" y="1077676"/>
                  <a:pt x="7417875" y="1077676"/>
                </a:cubicBezTo>
                <a:close/>
                <a:moveTo>
                  <a:pt x="5461725" y="1058055"/>
                </a:moveTo>
                <a:cubicBezTo>
                  <a:pt x="5306783" y="1058055"/>
                  <a:pt x="5229311" y="1136539"/>
                  <a:pt x="5171208" y="1234644"/>
                </a:cubicBezTo>
                <a:cubicBezTo>
                  <a:pt x="5171208" y="1234644"/>
                  <a:pt x="5171208" y="1234644"/>
                  <a:pt x="4454599" y="2882806"/>
                </a:cubicBezTo>
                <a:cubicBezTo>
                  <a:pt x="4435231" y="2922048"/>
                  <a:pt x="4435231" y="2961290"/>
                  <a:pt x="4435231" y="3000532"/>
                </a:cubicBezTo>
                <a:cubicBezTo>
                  <a:pt x="4435231" y="3118258"/>
                  <a:pt x="4532070" y="3196741"/>
                  <a:pt x="4648277" y="3196741"/>
                </a:cubicBezTo>
                <a:cubicBezTo>
                  <a:pt x="4745116" y="3196741"/>
                  <a:pt x="4803219" y="3157500"/>
                  <a:pt x="4841955" y="3059395"/>
                </a:cubicBezTo>
                <a:cubicBezTo>
                  <a:pt x="4841955" y="3059395"/>
                  <a:pt x="4841955" y="3059395"/>
                  <a:pt x="4996897" y="2706217"/>
                </a:cubicBezTo>
                <a:cubicBezTo>
                  <a:pt x="4996897" y="2706217"/>
                  <a:pt x="4996897" y="2706217"/>
                  <a:pt x="5907185" y="2706217"/>
                </a:cubicBezTo>
                <a:lnTo>
                  <a:pt x="6042760" y="3059395"/>
                </a:lnTo>
                <a:cubicBezTo>
                  <a:pt x="6081495" y="3157500"/>
                  <a:pt x="6158967" y="3196741"/>
                  <a:pt x="6255805" y="3196741"/>
                </a:cubicBezTo>
                <a:cubicBezTo>
                  <a:pt x="6372013" y="3196741"/>
                  <a:pt x="6468853" y="3118258"/>
                  <a:pt x="6468853" y="3000532"/>
                </a:cubicBezTo>
                <a:cubicBezTo>
                  <a:pt x="6468853" y="2961290"/>
                  <a:pt x="6468853" y="2922048"/>
                  <a:pt x="6449485" y="2882806"/>
                </a:cubicBezTo>
                <a:cubicBezTo>
                  <a:pt x="6449485" y="2882806"/>
                  <a:pt x="6449485" y="2882806"/>
                  <a:pt x="5732875" y="1234644"/>
                </a:cubicBezTo>
                <a:cubicBezTo>
                  <a:pt x="5674771" y="1136539"/>
                  <a:pt x="5597300" y="1058055"/>
                  <a:pt x="5461725" y="1058055"/>
                </a:cubicBezTo>
                <a:close/>
                <a:moveTo>
                  <a:pt x="847119" y="0"/>
                </a:moveTo>
                <a:lnTo>
                  <a:pt x="14021983" y="0"/>
                </a:lnTo>
                <a:lnTo>
                  <a:pt x="14021847" y="630"/>
                </a:lnTo>
                <a:cubicBezTo>
                  <a:pt x="14018669" y="15384"/>
                  <a:pt x="13993249" y="133416"/>
                  <a:pt x="13789889" y="1077676"/>
                </a:cubicBezTo>
                <a:cubicBezTo>
                  <a:pt x="13731785" y="1058055"/>
                  <a:pt x="13673681" y="1058055"/>
                  <a:pt x="13615577" y="1058055"/>
                </a:cubicBezTo>
                <a:cubicBezTo>
                  <a:pt x="12976439" y="1058055"/>
                  <a:pt x="12511613" y="1548579"/>
                  <a:pt x="12511613" y="2137209"/>
                </a:cubicBezTo>
                <a:cubicBezTo>
                  <a:pt x="12511613" y="2745459"/>
                  <a:pt x="12957071" y="3216362"/>
                  <a:pt x="13596209" y="3216362"/>
                </a:cubicBezTo>
                <a:cubicBezTo>
                  <a:pt x="14235349" y="3216362"/>
                  <a:pt x="14700175" y="2725838"/>
                  <a:pt x="14700175" y="2137209"/>
                </a:cubicBezTo>
                <a:cubicBezTo>
                  <a:pt x="14700175" y="1960620"/>
                  <a:pt x="14661441" y="1784031"/>
                  <a:pt x="14583969" y="1646684"/>
                </a:cubicBezTo>
                <a:cubicBezTo>
                  <a:pt x="14583969" y="1646684"/>
                  <a:pt x="14583969" y="1646684"/>
                  <a:pt x="14196613" y="1940999"/>
                </a:cubicBezTo>
                <a:cubicBezTo>
                  <a:pt x="14215981" y="1999862"/>
                  <a:pt x="14235349" y="2078346"/>
                  <a:pt x="14235349" y="2137209"/>
                </a:cubicBezTo>
                <a:cubicBezTo>
                  <a:pt x="14235349" y="2510007"/>
                  <a:pt x="13983565" y="2784701"/>
                  <a:pt x="13615577" y="2784701"/>
                </a:cubicBezTo>
                <a:cubicBezTo>
                  <a:pt x="13247589" y="2784701"/>
                  <a:pt x="12976439" y="2490386"/>
                  <a:pt x="12976439" y="2137209"/>
                </a:cubicBezTo>
                <a:cubicBezTo>
                  <a:pt x="12976439" y="1784031"/>
                  <a:pt x="13228221" y="1489716"/>
                  <a:pt x="13596209" y="1489716"/>
                </a:cubicBezTo>
                <a:cubicBezTo>
                  <a:pt x="13634945" y="1489716"/>
                  <a:pt x="13654313" y="1489716"/>
                  <a:pt x="13693049" y="1489716"/>
                </a:cubicBezTo>
                <a:cubicBezTo>
                  <a:pt x="13693049" y="1489716"/>
                  <a:pt x="13693049" y="1489716"/>
                  <a:pt x="13518737" y="2274556"/>
                </a:cubicBezTo>
                <a:cubicBezTo>
                  <a:pt x="13518737" y="2274556"/>
                  <a:pt x="13518737" y="2274556"/>
                  <a:pt x="13576841" y="2313797"/>
                </a:cubicBezTo>
                <a:cubicBezTo>
                  <a:pt x="13576841" y="2313797"/>
                  <a:pt x="13576841" y="2313797"/>
                  <a:pt x="15302449" y="208867"/>
                </a:cubicBezTo>
                <a:lnTo>
                  <a:pt x="15473677" y="0"/>
                </a:lnTo>
                <a:lnTo>
                  <a:pt x="19895817" y="0"/>
                </a:lnTo>
                <a:lnTo>
                  <a:pt x="20086775" y="11552"/>
                </a:lnTo>
                <a:cubicBezTo>
                  <a:pt x="20517065" y="68345"/>
                  <a:pt x="20714017" y="312956"/>
                  <a:pt x="20739957" y="787481"/>
                </a:cubicBezTo>
                <a:lnTo>
                  <a:pt x="20742935" y="901016"/>
                </a:lnTo>
                <a:lnTo>
                  <a:pt x="20742935" y="3471506"/>
                </a:lnTo>
                <a:lnTo>
                  <a:pt x="20739957" y="3585041"/>
                </a:lnTo>
                <a:cubicBezTo>
                  <a:pt x="20710027" y="4132570"/>
                  <a:pt x="20452417" y="4374000"/>
                  <a:pt x="19871385" y="4374000"/>
                </a:cubicBezTo>
                <a:lnTo>
                  <a:pt x="871552" y="4374000"/>
                </a:lnTo>
                <a:cubicBezTo>
                  <a:pt x="251782" y="4374000"/>
                  <a:pt x="0" y="4099306"/>
                  <a:pt x="0" y="3471435"/>
                </a:cubicBezTo>
                <a:cubicBezTo>
                  <a:pt x="0" y="3471435"/>
                  <a:pt x="0" y="3471435"/>
                  <a:pt x="0" y="901087"/>
                </a:cubicBezTo>
                <a:cubicBezTo>
                  <a:pt x="0" y="351700"/>
                  <a:pt x="192771" y="72714"/>
                  <a:pt x="656161" y="115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/>
              <a:t>vel</a:t>
            </a:r>
            <a:endParaRPr lang="en-GB" dirty="0"/>
          </a:p>
        </p:txBody>
      </p:sp>
      <p:sp>
        <p:nvSpPr>
          <p:cNvPr id="11" name="Slide Number Placeholder 5" hidden="1">
            <a:extLst>
              <a:ext uri="{FF2B5EF4-FFF2-40B4-BE49-F238E27FC236}">
                <a16:creationId xmlns:a16="http://schemas.microsoft.com/office/drawing/2014/main" id="{F8065A6C-B087-4C37-B9BF-238078D124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4" hidden="1">
            <a:extLst>
              <a:ext uri="{FF2B5EF4-FFF2-40B4-BE49-F238E27FC236}">
                <a16:creationId xmlns:a16="http://schemas.microsoft.com/office/drawing/2014/main" id="{E644527C-AD14-4EB9-ADCA-31C61EBA65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100" baseline="0">
                <a:noFill/>
              </a:defRPr>
            </a:lvl1pPr>
          </a:lstStyle>
          <a:p>
            <a:pPr algn="r"/>
            <a:endParaRPr lang="en-DK" dirty="0"/>
          </a:p>
        </p:txBody>
      </p:sp>
      <p:sp>
        <p:nvSpPr>
          <p:cNvPr id="13" name="Date_DateCustomA" hidden="1">
            <a:extLst>
              <a:ext uri="{FF2B5EF4-FFF2-40B4-BE49-F238E27FC236}">
                <a16:creationId xmlns:a16="http://schemas.microsoft.com/office/drawing/2014/main" id="{264006B7-F2E6-4F4A-8D05-3F44F8F318B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en-GB" sz="100" smtClean="0">
                <a:noFill/>
              </a:defRPr>
            </a:lvl1pPr>
          </a:lstStyle>
          <a:p>
            <a:pPr algn="r"/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27030325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084D571D-C947-1B4F-AB1F-BDDE39ED8F77}" type="datetime1">
              <a:rPr lang="nb-NO" smtClean="0">
                <a:solidFill>
                  <a:prstClr val="black"/>
                </a:solidFill>
              </a:rPr>
              <a:pPr/>
              <a:t>30.11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26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/>
          <p:cNvSpPr/>
          <p:nvPr userDrawn="1"/>
        </p:nvSpPr>
        <p:spPr>
          <a:xfrm>
            <a:off x="0" y="0"/>
            <a:ext cx="12191187" cy="68564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-1" y="0"/>
            <a:ext cx="12194787" cy="6860012"/>
          </a:xfrm>
          <a:solidFill>
            <a:srgbClr val="F6F6F4"/>
          </a:solidFill>
        </p:spPr>
        <p:txBody>
          <a:bodyPr tIns="0" anchor="t" anchorCtr="0"/>
          <a:lstStyle>
            <a:lvl1pPr marL="0" indent="0" algn="ctr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D502E4A2-448F-4BE7-8814-15A06BDE1CF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98617" y="6158174"/>
            <a:ext cx="1220559" cy="255541"/>
          </a:xfrm>
          <a:custGeom>
            <a:avLst/>
            <a:gdLst>
              <a:gd name="connsiteX0" fmla="*/ 10555461 w 20742935"/>
              <a:gd name="connsiteY0" fmla="*/ 2313797 h 4374000"/>
              <a:gd name="connsiteX1" fmla="*/ 11078393 w 20742935"/>
              <a:gd name="connsiteY1" fmla="*/ 2313797 h 4374000"/>
              <a:gd name="connsiteX2" fmla="*/ 11427013 w 20742935"/>
              <a:gd name="connsiteY2" fmla="*/ 2549249 h 4374000"/>
              <a:gd name="connsiteX3" fmla="*/ 11097761 w 20742935"/>
              <a:gd name="connsiteY3" fmla="*/ 2784701 h 4374000"/>
              <a:gd name="connsiteX4" fmla="*/ 10555461 w 20742935"/>
              <a:gd name="connsiteY4" fmla="*/ 2784701 h 4374000"/>
              <a:gd name="connsiteX5" fmla="*/ 10555461 w 20742935"/>
              <a:gd name="connsiteY5" fmla="*/ 2313797 h 4374000"/>
              <a:gd name="connsiteX6" fmla="*/ 5442357 w 20742935"/>
              <a:gd name="connsiteY6" fmla="*/ 1627063 h 4374000"/>
              <a:gd name="connsiteX7" fmla="*/ 5732875 w 20742935"/>
              <a:gd name="connsiteY7" fmla="*/ 2313797 h 4374000"/>
              <a:gd name="connsiteX8" fmla="*/ 5151840 w 20742935"/>
              <a:gd name="connsiteY8" fmla="*/ 2313797 h 4374000"/>
              <a:gd name="connsiteX9" fmla="*/ 2556552 w 20742935"/>
              <a:gd name="connsiteY9" fmla="*/ 1509337 h 4374000"/>
              <a:gd name="connsiteX10" fmla="*/ 3002012 w 20742935"/>
              <a:gd name="connsiteY10" fmla="*/ 1509337 h 4374000"/>
              <a:gd name="connsiteX11" fmla="*/ 3350633 w 20742935"/>
              <a:gd name="connsiteY11" fmla="*/ 1803652 h 4374000"/>
              <a:gd name="connsiteX12" fmla="*/ 3002012 w 20742935"/>
              <a:gd name="connsiteY12" fmla="*/ 2117588 h 4374000"/>
              <a:gd name="connsiteX13" fmla="*/ 2556552 w 20742935"/>
              <a:gd name="connsiteY13" fmla="*/ 2117588 h 4374000"/>
              <a:gd name="connsiteX14" fmla="*/ 2556552 w 20742935"/>
              <a:gd name="connsiteY14" fmla="*/ 1509337 h 4374000"/>
              <a:gd name="connsiteX15" fmla="*/ 10555461 w 20742935"/>
              <a:gd name="connsiteY15" fmla="*/ 1489716 h 4374000"/>
              <a:gd name="connsiteX16" fmla="*/ 11000921 w 20742935"/>
              <a:gd name="connsiteY16" fmla="*/ 1489716 h 4374000"/>
              <a:gd name="connsiteX17" fmla="*/ 11310807 w 20742935"/>
              <a:gd name="connsiteY17" fmla="*/ 1725168 h 4374000"/>
              <a:gd name="connsiteX18" fmla="*/ 10981553 w 20742935"/>
              <a:gd name="connsiteY18" fmla="*/ 1940999 h 4374000"/>
              <a:gd name="connsiteX19" fmla="*/ 10555461 w 20742935"/>
              <a:gd name="connsiteY19" fmla="*/ 1940999 h 4374000"/>
              <a:gd name="connsiteX20" fmla="*/ 10555461 w 20742935"/>
              <a:gd name="connsiteY20" fmla="*/ 1489716 h 4374000"/>
              <a:gd name="connsiteX21" fmla="*/ 10342417 w 20742935"/>
              <a:gd name="connsiteY21" fmla="*/ 1097297 h 4374000"/>
              <a:gd name="connsiteX22" fmla="*/ 10110001 w 20742935"/>
              <a:gd name="connsiteY22" fmla="*/ 1332749 h 4374000"/>
              <a:gd name="connsiteX23" fmla="*/ 10110001 w 20742935"/>
              <a:gd name="connsiteY23" fmla="*/ 2941669 h 4374000"/>
              <a:gd name="connsiteX24" fmla="*/ 10342417 w 20742935"/>
              <a:gd name="connsiteY24" fmla="*/ 3177120 h 4374000"/>
              <a:gd name="connsiteX25" fmla="*/ 11097761 w 20742935"/>
              <a:gd name="connsiteY25" fmla="*/ 3177120 h 4374000"/>
              <a:gd name="connsiteX26" fmla="*/ 11872473 w 20742935"/>
              <a:gd name="connsiteY26" fmla="*/ 2608112 h 4374000"/>
              <a:gd name="connsiteX27" fmla="*/ 11485117 w 20742935"/>
              <a:gd name="connsiteY27" fmla="*/ 2097967 h 4374000"/>
              <a:gd name="connsiteX28" fmla="*/ 11756267 w 20742935"/>
              <a:gd name="connsiteY28" fmla="*/ 1627063 h 4374000"/>
              <a:gd name="connsiteX29" fmla="*/ 11620693 w 20742935"/>
              <a:gd name="connsiteY29" fmla="*/ 1273886 h 4374000"/>
              <a:gd name="connsiteX30" fmla="*/ 11078393 w 20742935"/>
              <a:gd name="connsiteY30" fmla="*/ 1097297 h 4374000"/>
              <a:gd name="connsiteX31" fmla="*/ 2324139 w 20742935"/>
              <a:gd name="connsiteY31" fmla="*/ 1097297 h 4374000"/>
              <a:gd name="connsiteX32" fmla="*/ 2091725 w 20742935"/>
              <a:gd name="connsiteY32" fmla="*/ 1332749 h 4374000"/>
              <a:gd name="connsiteX33" fmla="*/ 2091725 w 20742935"/>
              <a:gd name="connsiteY33" fmla="*/ 2961290 h 4374000"/>
              <a:gd name="connsiteX34" fmla="*/ 2324139 w 20742935"/>
              <a:gd name="connsiteY34" fmla="*/ 3196741 h 4374000"/>
              <a:gd name="connsiteX35" fmla="*/ 2556552 w 20742935"/>
              <a:gd name="connsiteY35" fmla="*/ 2961290 h 4374000"/>
              <a:gd name="connsiteX36" fmla="*/ 2556552 w 20742935"/>
              <a:gd name="connsiteY36" fmla="*/ 2510007 h 4374000"/>
              <a:gd name="connsiteX37" fmla="*/ 2905173 w 20742935"/>
              <a:gd name="connsiteY37" fmla="*/ 2510007 h 4374000"/>
              <a:gd name="connsiteX38" fmla="*/ 3350633 w 20742935"/>
              <a:gd name="connsiteY38" fmla="*/ 3079016 h 4374000"/>
              <a:gd name="connsiteX39" fmla="*/ 3563679 w 20742935"/>
              <a:gd name="connsiteY39" fmla="*/ 3196741 h 4374000"/>
              <a:gd name="connsiteX40" fmla="*/ 3796093 w 20742935"/>
              <a:gd name="connsiteY40" fmla="*/ 2980911 h 4374000"/>
              <a:gd name="connsiteX41" fmla="*/ 3718621 w 20742935"/>
              <a:gd name="connsiteY41" fmla="*/ 2804322 h 4374000"/>
              <a:gd name="connsiteX42" fmla="*/ 3408736 w 20742935"/>
              <a:gd name="connsiteY42" fmla="*/ 2431523 h 4374000"/>
              <a:gd name="connsiteX43" fmla="*/ 3815461 w 20742935"/>
              <a:gd name="connsiteY43" fmla="*/ 1784031 h 4374000"/>
              <a:gd name="connsiteX44" fmla="*/ 3641150 w 20742935"/>
              <a:gd name="connsiteY44" fmla="*/ 1313128 h 4374000"/>
              <a:gd name="connsiteX45" fmla="*/ 3040748 w 20742935"/>
              <a:gd name="connsiteY45" fmla="*/ 1097297 h 4374000"/>
              <a:gd name="connsiteX46" fmla="*/ 2324139 w 20742935"/>
              <a:gd name="connsiteY46" fmla="*/ 1097297 h 4374000"/>
              <a:gd name="connsiteX47" fmla="*/ 17799025 w 20742935"/>
              <a:gd name="connsiteY47" fmla="*/ 1077676 h 4374000"/>
              <a:gd name="connsiteX48" fmla="*/ 17585981 w 20742935"/>
              <a:gd name="connsiteY48" fmla="*/ 1313128 h 4374000"/>
              <a:gd name="connsiteX49" fmla="*/ 17585981 w 20742935"/>
              <a:gd name="connsiteY49" fmla="*/ 2941669 h 4374000"/>
              <a:gd name="connsiteX50" fmla="*/ 17799025 w 20742935"/>
              <a:gd name="connsiteY50" fmla="*/ 3177120 h 4374000"/>
              <a:gd name="connsiteX51" fmla="*/ 18883625 w 20742935"/>
              <a:gd name="connsiteY51" fmla="*/ 3177120 h 4374000"/>
              <a:gd name="connsiteX52" fmla="*/ 19077301 w 20742935"/>
              <a:gd name="connsiteY52" fmla="*/ 2980911 h 4374000"/>
              <a:gd name="connsiteX53" fmla="*/ 18883625 w 20742935"/>
              <a:gd name="connsiteY53" fmla="*/ 2765080 h 4374000"/>
              <a:gd name="connsiteX54" fmla="*/ 18031441 w 20742935"/>
              <a:gd name="connsiteY54" fmla="*/ 2765080 h 4374000"/>
              <a:gd name="connsiteX55" fmla="*/ 18031441 w 20742935"/>
              <a:gd name="connsiteY55" fmla="*/ 1313128 h 4374000"/>
              <a:gd name="connsiteX56" fmla="*/ 17799025 w 20742935"/>
              <a:gd name="connsiteY56" fmla="*/ 1077676 h 4374000"/>
              <a:gd name="connsiteX57" fmla="*/ 15707301 w 20742935"/>
              <a:gd name="connsiteY57" fmla="*/ 1077676 h 4374000"/>
              <a:gd name="connsiteX58" fmla="*/ 15474889 w 20742935"/>
              <a:gd name="connsiteY58" fmla="*/ 1313128 h 4374000"/>
              <a:gd name="connsiteX59" fmla="*/ 15474889 w 20742935"/>
              <a:gd name="connsiteY59" fmla="*/ 2941669 h 4374000"/>
              <a:gd name="connsiteX60" fmla="*/ 15707301 w 20742935"/>
              <a:gd name="connsiteY60" fmla="*/ 3177120 h 4374000"/>
              <a:gd name="connsiteX61" fmla="*/ 16772533 w 20742935"/>
              <a:gd name="connsiteY61" fmla="*/ 3177120 h 4374000"/>
              <a:gd name="connsiteX62" fmla="*/ 16985577 w 20742935"/>
              <a:gd name="connsiteY62" fmla="*/ 2980911 h 4374000"/>
              <a:gd name="connsiteX63" fmla="*/ 16772533 w 20742935"/>
              <a:gd name="connsiteY63" fmla="*/ 2765080 h 4374000"/>
              <a:gd name="connsiteX64" fmla="*/ 15939717 w 20742935"/>
              <a:gd name="connsiteY64" fmla="*/ 2765080 h 4374000"/>
              <a:gd name="connsiteX65" fmla="*/ 15939717 w 20742935"/>
              <a:gd name="connsiteY65" fmla="*/ 1313128 h 4374000"/>
              <a:gd name="connsiteX66" fmla="*/ 15707301 w 20742935"/>
              <a:gd name="connsiteY66" fmla="*/ 1077676 h 4374000"/>
              <a:gd name="connsiteX67" fmla="*/ 7417875 w 20742935"/>
              <a:gd name="connsiteY67" fmla="*/ 1077676 h 4374000"/>
              <a:gd name="connsiteX68" fmla="*/ 7166093 w 20742935"/>
              <a:gd name="connsiteY68" fmla="*/ 1293507 h 4374000"/>
              <a:gd name="connsiteX69" fmla="*/ 7166093 w 20742935"/>
              <a:gd name="connsiteY69" fmla="*/ 2961290 h 4374000"/>
              <a:gd name="connsiteX70" fmla="*/ 7398507 w 20742935"/>
              <a:gd name="connsiteY70" fmla="*/ 3196741 h 4374000"/>
              <a:gd name="connsiteX71" fmla="*/ 7611553 w 20742935"/>
              <a:gd name="connsiteY71" fmla="*/ 2961290 h 4374000"/>
              <a:gd name="connsiteX72" fmla="*/ 7611553 w 20742935"/>
              <a:gd name="connsiteY72" fmla="*/ 1940999 h 4374000"/>
              <a:gd name="connsiteX73" fmla="*/ 7998909 w 20742935"/>
              <a:gd name="connsiteY73" fmla="*/ 2549249 h 4374000"/>
              <a:gd name="connsiteX74" fmla="*/ 8192589 w 20742935"/>
              <a:gd name="connsiteY74" fmla="*/ 2666975 h 4374000"/>
              <a:gd name="connsiteX75" fmla="*/ 8386265 w 20742935"/>
              <a:gd name="connsiteY75" fmla="*/ 2549249 h 4374000"/>
              <a:gd name="connsiteX76" fmla="*/ 8773621 w 20742935"/>
              <a:gd name="connsiteY76" fmla="*/ 1921378 h 4374000"/>
              <a:gd name="connsiteX77" fmla="*/ 8773621 w 20742935"/>
              <a:gd name="connsiteY77" fmla="*/ 2961290 h 4374000"/>
              <a:gd name="connsiteX78" fmla="*/ 9006037 w 20742935"/>
              <a:gd name="connsiteY78" fmla="*/ 3196741 h 4374000"/>
              <a:gd name="connsiteX79" fmla="*/ 9238449 w 20742935"/>
              <a:gd name="connsiteY79" fmla="*/ 2961290 h 4374000"/>
              <a:gd name="connsiteX80" fmla="*/ 9238449 w 20742935"/>
              <a:gd name="connsiteY80" fmla="*/ 1293507 h 4374000"/>
              <a:gd name="connsiteX81" fmla="*/ 8986669 w 20742935"/>
              <a:gd name="connsiteY81" fmla="*/ 1077676 h 4374000"/>
              <a:gd name="connsiteX82" fmla="*/ 8734887 w 20742935"/>
              <a:gd name="connsiteY82" fmla="*/ 1215023 h 4374000"/>
              <a:gd name="connsiteX83" fmla="*/ 8211955 w 20742935"/>
              <a:gd name="connsiteY83" fmla="*/ 2097967 h 4374000"/>
              <a:gd name="connsiteX84" fmla="*/ 7669657 w 20742935"/>
              <a:gd name="connsiteY84" fmla="*/ 1215023 h 4374000"/>
              <a:gd name="connsiteX85" fmla="*/ 7417875 w 20742935"/>
              <a:gd name="connsiteY85" fmla="*/ 1077676 h 4374000"/>
              <a:gd name="connsiteX86" fmla="*/ 5461725 w 20742935"/>
              <a:gd name="connsiteY86" fmla="*/ 1058055 h 4374000"/>
              <a:gd name="connsiteX87" fmla="*/ 5171208 w 20742935"/>
              <a:gd name="connsiteY87" fmla="*/ 1234644 h 4374000"/>
              <a:gd name="connsiteX88" fmla="*/ 4454599 w 20742935"/>
              <a:gd name="connsiteY88" fmla="*/ 2882806 h 4374000"/>
              <a:gd name="connsiteX89" fmla="*/ 4435231 w 20742935"/>
              <a:gd name="connsiteY89" fmla="*/ 3000532 h 4374000"/>
              <a:gd name="connsiteX90" fmla="*/ 4648277 w 20742935"/>
              <a:gd name="connsiteY90" fmla="*/ 3196741 h 4374000"/>
              <a:gd name="connsiteX91" fmla="*/ 4841955 w 20742935"/>
              <a:gd name="connsiteY91" fmla="*/ 3059395 h 4374000"/>
              <a:gd name="connsiteX92" fmla="*/ 4996897 w 20742935"/>
              <a:gd name="connsiteY92" fmla="*/ 2706217 h 4374000"/>
              <a:gd name="connsiteX93" fmla="*/ 5907185 w 20742935"/>
              <a:gd name="connsiteY93" fmla="*/ 2706217 h 4374000"/>
              <a:gd name="connsiteX94" fmla="*/ 6042760 w 20742935"/>
              <a:gd name="connsiteY94" fmla="*/ 3059395 h 4374000"/>
              <a:gd name="connsiteX95" fmla="*/ 6255805 w 20742935"/>
              <a:gd name="connsiteY95" fmla="*/ 3196741 h 4374000"/>
              <a:gd name="connsiteX96" fmla="*/ 6468853 w 20742935"/>
              <a:gd name="connsiteY96" fmla="*/ 3000532 h 4374000"/>
              <a:gd name="connsiteX97" fmla="*/ 6449485 w 20742935"/>
              <a:gd name="connsiteY97" fmla="*/ 2882806 h 4374000"/>
              <a:gd name="connsiteX98" fmla="*/ 5732875 w 20742935"/>
              <a:gd name="connsiteY98" fmla="*/ 1234644 h 4374000"/>
              <a:gd name="connsiteX99" fmla="*/ 5461725 w 20742935"/>
              <a:gd name="connsiteY99" fmla="*/ 1058055 h 4374000"/>
              <a:gd name="connsiteX100" fmla="*/ 847119 w 20742935"/>
              <a:gd name="connsiteY100" fmla="*/ 0 h 4374000"/>
              <a:gd name="connsiteX101" fmla="*/ 14021983 w 20742935"/>
              <a:gd name="connsiteY101" fmla="*/ 0 h 4374000"/>
              <a:gd name="connsiteX102" fmla="*/ 14021847 w 20742935"/>
              <a:gd name="connsiteY102" fmla="*/ 630 h 4374000"/>
              <a:gd name="connsiteX103" fmla="*/ 13789889 w 20742935"/>
              <a:gd name="connsiteY103" fmla="*/ 1077676 h 4374000"/>
              <a:gd name="connsiteX104" fmla="*/ 13615577 w 20742935"/>
              <a:gd name="connsiteY104" fmla="*/ 1058055 h 4374000"/>
              <a:gd name="connsiteX105" fmla="*/ 12511613 w 20742935"/>
              <a:gd name="connsiteY105" fmla="*/ 2137209 h 4374000"/>
              <a:gd name="connsiteX106" fmla="*/ 13596209 w 20742935"/>
              <a:gd name="connsiteY106" fmla="*/ 3216362 h 4374000"/>
              <a:gd name="connsiteX107" fmla="*/ 14700175 w 20742935"/>
              <a:gd name="connsiteY107" fmla="*/ 2137209 h 4374000"/>
              <a:gd name="connsiteX108" fmla="*/ 14583969 w 20742935"/>
              <a:gd name="connsiteY108" fmla="*/ 1646684 h 4374000"/>
              <a:gd name="connsiteX109" fmla="*/ 14196613 w 20742935"/>
              <a:gd name="connsiteY109" fmla="*/ 1940999 h 4374000"/>
              <a:gd name="connsiteX110" fmla="*/ 14235349 w 20742935"/>
              <a:gd name="connsiteY110" fmla="*/ 2137209 h 4374000"/>
              <a:gd name="connsiteX111" fmla="*/ 13615577 w 20742935"/>
              <a:gd name="connsiteY111" fmla="*/ 2784701 h 4374000"/>
              <a:gd name="connsiteX112" fmla="*/ 12976439 w 20742935"/>
              <a:gd name="connsiteY112" fmla="*/ 2137209 h 4374000"/>
              <a:gd name="connsiteX113" fmla="*/ 13596209 w 20742935"/>
              <a:gd name="connsiteY113" fmla="*/ 1489716 h 4374000"/>
              <a:gd name="connsiteX114" fmla="*/ 13693049 w 20742935"/>
              <a:gd name="connsiteY114" fmla="*/ 1489716 h 4374000"/>
              <a:gd name="connsiteX115" fmla="*/ 13518737 w 20742935"/>
              <a:gd name="connsiteY115" fmla="*/ 2274556 h 4374000"/>
              <a:gd name="connsiteX116" fmla="*/ 13576841 w 20742935"/>
              <a:gd name="connsiteY116" fmla="*/ 2313797 h 4374000"/>
              <a:gd name="connsiteX117" fmla="*/ 15302449 w 20742935"/>
              <a:gd name="connsiteY117" fmla="*/ 208867 h 4374000"/>
              <a:gd name="connsiteX118" fmla="*/ 15473677 w 20742935"/>
              <a:gd name="connsiteY118" fmla="*/ 0 h 4374000"/>
              <a:gd name="connsiteX119" fmla="*/ 19895817 w 20742935"/>
              <a:gd name="connsiteY119" fmla="*/ 0 h 4374000"/>
              <a:gd name="connsiteX120" fmla="*/ 20086775 w 20742935"/>
              <a:gd name="connsiteY120" fmla="*/ 11552 h 4374000"/>
              <a:gd name="connsiteX121" fmla="*/ 20739957 w 20742935"/>
              <a:gd name="connsiteY121" fmla="*/ 787481 h 4374000"/>
              <a:gd name="connsiteX122" fmla="*/ 20742935 w 20742935"/>
              <a:gd name="connsiteY122" fmla="*/ 901016 h 4374000"/>
              <a:gd name="connsiteX123" fmla="*/ 20742935 w 20742935"/>
              <a:gd name="connsiteY123" fmla="*/ 3471506 h 4374000"/>
              <a:gd name="connsiteX124" fmla="*/ 20739957 w 20742935"/>
              <a:gd name="connsiteY124" fmla="*/ 3585041 h 4374000"/>
              <a:gd name="connsiteX125" fmla="*/ 19871385 w 20742935"/>
              <a:gd name="connsiteY125" fmla="*/ 4374000 h 4374000"/>
              <a:gd name="connsiteX126" fmla="*/ 871552 w 20742935"/>
              <a:gd name="connsiteY126" fmla="*/ 4374000 h 4374000"/>
              <a:gd name="connsiteX127" fmla="*/ 0 w 20742935"/>
              <a:gd name="connsiteY127" fmla="*/ 3471435 h 4374000"/>
              <a:gd name="connsiteX128" fmla="*/ 0 w 20742935"/>
              <a:gd name="connsiteY128" fmla="*/ 901087 h 4374000"/>
              <a:gd name="connsiteX129" fmla="*/ 656161 w 20742935"/>
              <a:gd name="connsiteY129" fmla="*/ 11552 h 437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20742935" h="4374000">
                <a:moveTo>
                  <a:pt x="10555461" y="2313797"/>
                </a:moveTo>
                <a:cubicBezTo>
                  <a:pt x="10555461" y="2313797"/>
                  <a:pt x="10555461" y="2313797"/>
                  <a:pt x="11078393" y="2313797"/>
                </a:cubicBezTo>
                <a:cubicBezTo>
                  <a:pt x="11310807" y="2313797"/>
                  <a:pt x="11427013" y="2411902"/>
                  <a:pt x="11427013" y="2549249"/>
                </a:cubicBezTo>
                <a:cubicBezTo>
                  <a:pt x="11427013" y="2706217"/>
                  <a:pt x="11291439" y="2784701"/>
                  <a:pt x="11097761" y="2784701"/>
                </a:cubicBezTo>
                <a:cubicBezTo>
                  <a:pt x="11097761" y="2784701"/>
                  <a:pt x="11097761" y="2784701"/>
                  <a:pt x="10555461" y="2784701"/>
                </a:cubicBezTo>
                <a:cubicBezTo>
                  <a:pt x="10555461" y="2784701"/>
                  <a:pt x="10555461" y="2784701"/>
                  <a:pt x="10555461" y="2313797"/>
                </a:cubicBezTo>
                <a:close/>
                <a:moveTo>
                  <a:pt x="5442357" y="1627063"/>
                </a:moveTo>
                <a:cubicBezTo>
                  <a:pt x="5442357" y="1627063"/>
                  <a:pt x="5442357" y="1627063"/>
                  <a:pt x="5732875" y="2313797"/>
                </a:cubicBezTo>
                <a:cubicBezTo>
                  <a:pt x="5732875" y="2313797"/>
                  <a:pt x="5732875" y="2313797"/>
                  <a:pt x="5151840" y="2313797"/>
                </a:cubicBezTo>
                <a:close/>
                <a:moveTo>
                  <a:pt x="2556552" y="1509337"/>
                </a:moveTo>
                <a:cubicBezTo>
                  <a:pt x="2556552" y="1509337"/>
                  <a:pt x="2556552" y="1509337"/>
                  <a:pt x="3002012" y="1509337"/>
                </a:cubicBezTo>
                <a:cubicBezTo>
                  <a:pt x="3215058" y="1509337"/>
                  <a:pt x="3350633" y="1607442"/>
                  <a:pt x="3350633" y="1803652"/>
                </a:cubicBezTo>
                <a:cubicBezTo>
                  <a:pt x="3350633" y="1980241"/>
                  <a:pt x="3234426" y="2117588"/>
                  <a:pt x="3002012" y="2117588"/>
                </a:cubicBezTo>
                <a:cubicBezTo>
                  <a:pt x="3002012" y="2117588"/>
                  <a:pt x="3002012" y="2117588"/>
                  <a:pt x="2556552" y="2117588"/>
                </a:cubicBezTo>
                <a:cubicBezTo>
                  <a:pt x="2556552" y="2117588"/>
                  <a:pt x="2556552" y="2117588"/>
                  <a:pt x="2556552" y="1509337"/>
                </a:cubicBezTo>
                <a:close/>
                <a:moveTo>
                  <a:pt x="10555461" y="1489716"/>
                </a:moveTo>
                <a:cubicBezTo>
                  <a:pt x="10555461" y="1489716"/>
                  <a:pt x="10555461" y="1489716"/>
                  <a:pt x="11000921" y="1489716"/>
                </a:cubicBezTo>
                <a:cubicBezTo>
                  <a:pt x="11194601" y="1489716"/>
                  <a:pt x="11310807" y="1568200"/>
                  <a:pt x="11310807" y="1725168"/>
                </a:cubicBezTo>
                <a:cubicBezTo>
                  <a:pt x="11310807" y="1882136"/>
                  <a:pt x="11175233" y="1940999"/>
                  <a:pt x="10981553" y="1940999"/>
                </a:cubicBezTo>
                <a:cubicBezTo>
                  <a:pt x="10981553" y="1940999"/>
                  <a:pt x="10981553" y="1940999"/>
                  <a:pt x="10555461" y="1940999"/>
                </a:cubicBezTo>
                <a:cubicBezTo>
                  <a:pt x="10555461" y="1940999"/>
                  <a:pt x="10555461" y="1940999"/>
                  <a:pt x="10555461" y="1489716"/>
                </a:cubicBezTo>
                <a:close/>
                <a:moveTo>
                  <a:pt x="10342417" y="1097297"/>
                </a:moveTo>
                <a:cubicBezTo>
                  <a:pt x="10206841" y="1097297"/>
                  <a:pt x="10110001" y="1175781"/>
                  <a:pt x="10110001" y="1332749"/>
                </a:cubicBezTo>
                <a:cubicBezTo>
                  <a:pt x="10110001" y="1332749"/>
                  <a:pt x="10110001" y="1332749"/>
                  <a:pt x="10110001" y="2941669"/>
                </a:cubicBezTo>
                <a:cubicBezTo>
                  <a:pt x="10110001" y="3098637"/>
                  <a:pt x="10206841" y="3177120"/>
                  <a:pt x="10342417" y="3177120"/>
                </a:cubicBezTo>
                <a:cubicBezTo>
                  <a:pt x="10342417" y="3177120"/>
                  <a:pt x="10342417" y="3177120"/>
                  <a:pt x="11097761" y="3177120"/>
                </a:cubicBezTo>
                <a:cubicBezTo>
                  <a:pt x="11562589" y="3177120"/>
                  <a:pt x="11872473" y="3000532"/>
                  <a:pt x="11872473" y="2608112"/>
                </a:cubicBezTo>
                <a:cubicBezTo>
                  <a:pt x="11872473" y="2313797"/>
                  <a:pt x="11717531" y="2176451"/>
                  <a:pt x="11485117" y="2097967"/>
                </a:cubicBezTo>
                <a:cubicBezTo>
                  <a:pt x="11640061" y="1999862"/>
                  <a:pt x="11756267" y="1882136"/>
                  <a:pt x="11756267" y="1627063"/>
                </a:cubicBezTo>
                <a:cubicBezTo>
                  <a:pt x="11756267" y="1489716"/>
                  <a:pt x="11717531" y="1371991"/>
                  <a:pt x="11620693" y="1273886"/>
                </a:cubicBezTo>
                <a:cubicBezTo>
                  <a:pt x="11504485" y="1156160"/>
                  <a:pt x="11310807" y="1097297"/>
                  <a:pt x="11078393" y="1097297"/>
                </a:cubicBezTo>
                <a:close/>
                <a:moveTo>
                  <a:pt x="2324139" y="1097297"/>
                </a:moveTo>
                <a:cubicBezTo>
                  <a:pt x="2188564" y="1097297"/>
                  <a:pt x="2091725" y="1175781"/>
                  <a:pt x="2091725" y="1332749"/>
                </a:cubicBezTo>
                <a:lnTo>
                  <a:pt x="2091725" y="2961290"/>
                </a:lnTo>
                <a:cubicBezTo>
                  <a:pt x="2091725" y="3118258"/>
                  <a:pt x="2188564" y="3196741"/>
                  <a:pt x="2324139" y="3196741"/>
                </a:cubicBezTo>
                <a:cubicBezTo>
                  <a:pt x="2459713" y="3196741"/>
                  <a:pt x="2556552" y="3118258"/>
                  <a:pt x="2556552" y="2961290"/>
                </a:cubicBezTo>
                <a:cubicBezTo>
                  <a:pt x="2556552" y="2961290"/>
                  <a:pt x="2556552" y="2961290"/>
                  <a:pt x="2556552" y="2510007"/>
                </a:cubicBezTo>
                <a:cubicBezTo>
                  <a:pt x="2556552" y="2510007"/>
                  <a:pt x="2556552" y="2510007"/>
                  <a:pt x="2905173" y="2510007"/>
                </a:cubicBezTo>
                <a:cubicBezTo>
                  <a:pt x="2905173" y="2510007"/>
                  <a:pt x="2905173" y="2510007"/>
                  <a:pt x="3350633" y="3079016"/>
                </a:cubicBezTo>
                <a:cubicBezTo>
                  <a:pt x="3408736" y="3157500"/>
                  <a:pt x="3466840" y="3196741"/>
                  <a:pt x="3563679" y="3196741"/>
                </a:cubicBezTo>
                <a:cubicBezTo>
                  <a:pt x="3679886" y="3196741"/>
                  <a:pt x="3796093" y="3098637"/>
                  <a:pt x="3796093" y="2980911"/>
                </a:cubicBezTo>
                <a:cubicBezTo>
                  <a:pt x="3796093" y="2902427"/>
                  <a:pt x="3757357" y="2863185"/>
                  <a:pt x="3718621" y="2804322"/>
                </a:cubicBezTo>
                <a:cubicBezTo>
                  <a:pt x="3718621" y="2804322"/>
                  <a:pt x="3718621" y="2804322"/>
                  <a:pt x="3408736" y="2431523"/>
                </a:cubicBezTo>
                <a:cubicBezTo>
                  <a:pt x="3660518" y="2313797"/>
                  <a:pt x="3815461" y="2117588"/>
                  <a:pt x="3815461" y="1784031"/>
                </a:cubicBezTo>
                <a:cubicBezTo>
                  <a:pt x="3815461" y="1587821"/>
                  <a:pt x="3757357" y="1430854"/>
                  <a:pt x="3641150" y="1313128"/>
                </a:cubicBezTo>
                <a:cubicBezTo>
                  <a:pt x="3505575" y="1175781"/>
                  <a:pt x="3311897" y="1097297"/>
                  <a:pt x="3040748" y="1097297"/>
                </a:cubicBezTo>
                <a:cubicBezTo>
                  <a:pt x="3040748" y="1097297"/>
                  <a:pt x="3040748" y="1097297"/>
                  <a:pt x="2324139" y="1097297"/>
                </a:cubicBezTo>
                <a:close/>
                <a:moveTo>
                  <a:pt x="17799025" y="1077676"/>
                </a:moveTo>
                <a:cubicBezTo>
                  <a:pt x="17682821" y="1077676"/>
                  <a:pt x="17585981" y="1156160"/>
                  <a:pt x="17585981" y="1313128"/>
                </a:cubicBezTo>
                <a:cubicBezTo>
                  <a:pt x="17585981" y="1313128"/>
                  <a:pt x="17585981" y="1313128"/>
                  <a:pt x="17585981" y="2941669"/>
                </a:cubicBezTo>
                <a:cubicBezTo>
                  <a:pt x="17585981" y="3098637"/>
                  <a:pt x="17682821" y="3177120"/>
                  <a:pt x="17799025" y="3177120"/>
                </a:cubicBezTo>
                <a:lnTo>
                  <a:pt x="18883625" y="3177120"/>
                </a:lnTo>
                <a:cubicBezTo>
                  <a:pt x="18999833" y="3177120"/>
                  <a:pt x="19077301" y="3098637"/>
                  <a:pt x="19077301" y="2980911"/>
                </a:cubicBezTo>
                <a:cubicBezTo>
                  <a:pt x="19077301" y="2843564"/>
                  <a:pt x="18999833" y="2765080"/>
                  <a:pt x="18883625" y="2765080"/>
                </a:cubicBezTo>
                <a:cubicBezTo>
                  <a:pt x="18883625" y="2765080"/>
                  <a:pt x="18883625" y="2765080"/>
                  <a:pt x="18031441" y="2765080"/>
                </a:cubicBezTo>
                <a:cubicBezTo>
                  <a:pt x="18031441" y="2765080"/>
                  <a:pt x="18031441" y="2765080"/>
                  <a:pt x="18031441" y="1313128"/>
                </a:cubicBezTo>
                <a:cubicBezTo>
                  <a:pt x="18031441" y="1156160"/>
                  <a:pt x="17934601" y="1077676"/>
                  <a:pt x="17799025" y="1077676"/>
                </a:cubicBezTo>
                <a:close/>
                <a:moveTo>
                  <a:pt x="15707301" y="1077676"/>
                </a:moveTo>
                <a:cubicBezTo>
                  <a:pt x="15571727" y="1077676"/>
                  <a:pt x="15474889" y="1156160"/>
                  <a:pt x="15474889" y="1313128"/>
                </a:cubicBezTo>
                <a:cubicBezTo>
                  <a:pt x="15474889" y="1313128"/>
                  <a:pt x="15474889" y="1313128"/>
                  <a:pt x="15474889" y="2941669"/>
                </a:cubicBezTo>
                <a:cubicBezTo>
                  <a:pt x="15474889" y="3098637"/>
                  <a:pt x="15571727" y="3177120"/>
                  <a:pt x="15707301" y="3177120"/>
                </a:cubicBezTo>
                <a:lnTo>
                  <a:pt x="16772533" y="3177120"/>
                </a:lnTo>
                <a:cubicBezTo>
                  <a:pt x="16888737" y="3177120"/>
                  <a:pt x="16985577" y="3098637"/>
                  <a:pt x="16985577" y="2980911"/>
                </a:cubicBezTo>
                <a:cubicBezTo>
                  <a:pt x="16985577" y="2843564"/>
                  <a:pt x="16888737" y="2765080"/>
                  <a:pt x="16772533" y="2765080"/>
                </a:cubicBezTo>
                <a:cubicBezTo>
                  <a:pt x="16772533" y="2765080"/>
                  <a:pt x="16772533" y="2765080"/>
                  <a:pt x="15939717" y="2765080"/>
                </a:cubicBezTo>
                <a:cubicBezTo>
                  <a:pt x="15939717" y="2765080"/>
                  <a:pt x="15939717" y="2765080"/>
                  <a:pt x="15939717" y="1313128"/>
                </a:cubicBezTo>
                <a:cubicBezTo>
                  <a:pt x="15939717" y="1156160"/>
                  <a:pt x="15842877" y="1077676"/>
                  <a:pt x="15707301" y="1077676"/>
                </a:cubicBezTo>
                <a:close/>
                <a:moveTo>
                  <a:pt x="7417875" y="1077676"/>
                </a:moveTo>
                <a:cubicBezTo>
                  <a:pt x="7301669" y="1077676"/>
                  <a:pt x="7166093" y="1156160"/>
                  <a:pt x="7166093" y="1293507"/>
                </a:cubicBezTo>
                <a:cubicBezTo>
                  <a:pt x="7166093" y="1293507"/>
                  <a:pt x="7166093" y="1293507"/>
                  <a:pt x="7166093" y="2961290"/>
                </a:cubicBezTo>
                <a:cubicBezTo>
                  <a:pt x="7166093" y="3118258"/>
                  <a:pt x="7262933" y="3196741"/>
                  <a:pt x="7398507" y="3196741"/>
                </a:cubicBezTo>
                <a:cubicBezTo>
                  <a:pt x="7514713" y="3196741"/>
                  <a:pt x="7611553" y="3118258"/>
                  <a:pt x="7611553" y="2961290"/>
                </a:cubicBezTo>
                <a:cubicBezTo>
                  <a:pt x="7611553" y="2961290"/>
                  <a:pt x="7611553" y="2961290"/>
                  <a:pt x="7611553" y="1940999"/>
                </a:cubicBezTo>
                <a:cubicBezTo>
                  <a:pt x="7611553" y="1940999"/>
                  <a:pt x="7611553" y="1940999"/>
                  <a:pt x="7998909" y="2549249"/>
                </a:cubicBezTo>
                <a:cubicBezTo>
                  <a:pt x="8057013" y="2627733"/>
                  <a:pt x="8115117" y="2666975"/>
                  <a:pt x="8192589" y="2666975"/>
                </a:cubicBezTo>
                <a:cubicBezTo>
                  <a:pt x="8289427" y="2666975"/>
                  <a:pt x="8347531" y="2627733"/>
                  <a:pt x="8386265" y="2549249"/>
                </a:cubicBezTo>
                <a:cubicBezTo>
                  <a:pt x="8386265" y="2549249"/>
                  <a:pt x="8386265" y="2549249"/>
                  <a:pt x="8773621" y="1921378"/>
                </a:cubicBezTo>
                <a:cubicBezTo>
                  <a:pt x="8773621" y="1921378"/>
                  <a:pt x="8773621" y="1921378"/>
                  <a:pt x="8773621" y="2961290"/>
                </a:cubicBezTo>
                <a:cubicBezTo>
                  <a:pt x="8773621" y="3118258"/>
                  <a:pt x="8870461" y="3196741"/>
                  <a:pt x="9006037" y="3196741"/>
                </a:cubicBezTo>
                <a:cubicBezTo>
                  <a:pt x="9141611" y="3196741"/>
                  <a:pt x="9238449" y="3118258"/>
                  <a:pt x="9238449" y="2961290"/>
                </a:cubicBezTo>
                <a:lnTo>
                  <a:pt x="9238449" y="1293507"/>
                </a:lnTo>
                <a:cubicBezTo>
                  <a:pt x="9238449" y="1156160"/>
                  <a:pt x="9102875" y="1077676"/>
                  <a:pt x="8986669" y="1077676"/>
                </a:cubicBezTo>
                <a:cubicBezTo>
                  <a:pt x="8870461" y="1077676"/>
                  <a:pt x="8792989" y="1116918"/>
                  <a:pt x="8734887" y="1215023"/>
                </a:cubicBezTo>
                <a:cubicBezTo>
                  <a:pt x="8734887" y="1215023"/>
                  <a:pt x="8734887" y="1215023"/>
                  <a:pt x="8211955" y="2097967"/>
                </a:cubicBezTo>
                <a:cubicBezTo>
                  <a:pt x="8211955" y="2097967"/>
                  <a:pt x="8211955" y="2097967"/>
                  <a:pt x="7669657" y="1215023"/>
                </a:cubicBezTo>
                <a:cubicBezTo>
                  <a:pt x="7611553" y="1116918"/>
                  <a:pt x="7534081" y="1077676"/>
                  <a:pt x="7417875" y="1077676"/>
                </a:cubicBezTo>
                <a:close/>
                <a:moveTo>
                  <a:pt x="5461725" y="1058055"/>
                </a:moveTo>
                <a:cubicBezTo>
                  <a:pt x="5306783" y="1058055"/>
                  <a:pt x="5229311" y="1136539"/>
                  <a:pt x="5171208" y="1234644"/>
                </a:cubicBezTo>
                <a:cubicBezTo>
                  <a:pt x="5171208" y="1234644"/>
                  <a:pt x="5171208" y="1234644"/>
                  <a:pt x="4454599" y="2882806"/>
                </a:cubicBezTo>
                <a:cubicBezTo>
                  <a:pt x="4435231" y="2922048"/>
                  <a:pt x="4435231" y="2961290"/>
                  <a:pt x="4435231" y="3000532"/>
                </a:cubicBezTo>
                <a:cubicBezTo>
                  <a:pt x="4435231" y="3118258"/>
                  <a:pt x="4532070" y="3196741"/>
                  <a:pt x="4648277" y="3196741"/>
                </a:cubicBezTo>
                <a:cubicBezTo>
                  <a:pt x="4745116" y="3196741"/>
                  <a:pt x="4803219" y="3157500"/>
                  <a:pt x="4841955" y="3059395"/>
                </a:cubicBezTo>
                <a:cubicBezTo>
                  <a:pt x="4841955" y="3059395"/>
                  <a:pt x="4841955" y="3059395"/>
                  <a:pt x="4996897" y="2706217"/>
                </a:cubicBezTo>
                <a:cubicBezTo>
                  <a:pt x="4996897" y="2706217"/>
                  <a:pt x="4996897" y="2706217"/>
                  <a:pt x="5907185" y="2706217"/>
                </a:cubicBezTo>
                <a:lnTo>
                  <a:pt x="6042760" y="3059395"/>
                </a:lnTo>
                <a:cubicBezTo>
                  <a:pt x="6081495" y="3157500"/>
                  <a:pt x="6158967" y="3196741"/>
                  <a:pt x="6255805" y="3196741"/>
                </a:cubicBezTo>
                <a:cubicBezTo>
                  <a:pt x="6372013" y="3196741"/>
                  <a:pt x="6468853" y="3118258"/>
                  <a:pt x="6468853" y="3000532"/>
                </a:cubicBezTo>
                <a:cubicBezTo>
                  <a:pt x="6468853" y="2961290"/>
                  <a:pt x="6468853" y="2922048"/>
                  <a:pt x="6449485" y="2882806"/>
                </a:cubicBezTo>
                <a:cubicBezTo>
                  <a:pt x="6449485" y="2882806"/>
                  <a:pt x="6449485" y="2882806"/>
                  <a:pt x="5732875" y="1234644"/>
                </a:cubicBezTo>
                <a:cubicBezTo>
                  <a:pt x="5674771" y="1136539"/>
                  <a:pt x="5597300" y="1058055"/>
                  <a:pt x="5461725" y="1058055"/>
                </a:cubicBezTo>
                <a:close/>
                <a:moveTo>
                  <a:pt x="847119" y="0"/>
                </a:moveTo>
                <a:lnTo>
                  <a:pt x="14021983" y="0"/>
                </a:lnTo>
                <a:lnTo>
                  <a:pt x="14021847" y="630"/>
                </a:lnTo>
                <a:cubicBezTo>
                  <a:pt x="14018669" y="15384"/>
                  <a:pt x="13993249" y="133416"/>
                  <a:pt x="13789889" y="1077676"/>
                </a:cubicBezTo>
                <a:cubicBezTo>
                  <a:pt x="13731785" y="1058055"/>
                  <a:pt x="13673681" y="1058055"/>
                  <a:pt x="13615577" y="1058055"/>
                </a:cubicBezTo>
                <a:cubicBezTo>
                  <a:pt x="12976439" y="1058055"/>
                  <a:pt x="12511613" y="1548579"/>
                  <a:pt x="12511613" y="2137209"/>
                </a:cubicBezTo>
                <a:cubicBezTo>
                  <a:pt x="12511613" y="2745459"/>
                  <a:pt x="12957071" y="3216362"/>
                  <a:pt x="13596209" y="3216362"/>
                </a:cubicBezTo>
                <a:cubicBezTo>
                  <a:pt x="14235349" y="3216362"/>
                  <a:pt x="14700175" y="2725838"/>
                  <a:pt x="14700175" y="2137209"/>
                </a:cubicBezTo>
                <a:cubicBezTo>
                  <a:pt x="14700175" y="1960620"/>
                  <a:pt x="14661441" y="1784031"/>
                  <a:pt x="14583969" y="1646684"/>
                </a:cubicBezTo>
                <a:cubicBezTo>
                  <a:pt x="14583969" y="1646684"/>
                  <a:pt x="14583969" y="1646684"/>
                  <a:pt x="14196613" y="1940999"/>
                </a:cubicBezTo>
                <a:cubicBezTo>
                  <a:pt x="14215981" y="1999862"/>
                  <a:pt x="14235349" y="2078346"/>
                  <a:pt x="14235349" y="2137209"/>
                </a:cubicBezTo>
                <a:cubicBezTo>
                  <a:pt x="14235349" y="2510007"/>
                  <a:pt x="13983565" y="2784701"/>
                  <a:pt x="13615577" y="2784701"/>
                </a:cubicBezTo>
                <a:cubicBezTo>
                  <a:pt x="13247589" y="2784701"/>
                  <a:pt x="12976439" y="2490386"/>
                  <a:pt x="12976439" y="2137209"/>
                </a:cubicBezTo>
                <a:cubicBezTo>
                  <a:pt x="12976439" y="1784031"/>
                  <a:pt x="13228221" y="1489716"/>
                  <a:pt x="13596209" y="1489716"/>
                </a:cubicBezTo>
                <a:cubicBezTo>
                  <a:pt x="13634945" y="1489716"/>
                  <a:pt x="13654313" y="1489716"/>
                  <a:pt x="13693049" y="1489716"/>
                </a:cubicBezTo>
                <a:cubicBezTo>
                  <a:pt x="13693049" y="1489716"/>
                  <a:pt x="13693049" y="1489716"/>
                  <a:pt x="13518737" y="2274556"/>
                </a:cubicBezTo>
                <a:cubicBezTo>
                  <a:pt x="13518737" y="2274556"/>
                  <a:pt x="13518737" y="2274556"/>
                  <a:pt x="13576841" y="2313797"/>
                </a:cubicBezTo>
                <a:cubicBezTo>
                  <a:pt x="13576841" y="2313797"/>
                  <a:pt x="13576841" y="2313797"/>
                  <a:pt x="15302449" y="208867"/>
                </a:cubicBezTo>
                <a:lnTo>
                  <a:pt x="15473677" y="0"/>
                </a:lnTo>
                <a:lnTo>
                  <a:pt x="19895817" y="0"/>
                </a:lnTo>
                <a:lnTo>
                  <a:pt x="20086775" y="11552"/>
                </a:lnTo>
                <a:cubicBezTo>
                  <a:pt x="20517065" y="68345"/>
                  <a:pt x="20714017" y="312956"/>
                  <a:pt x="20739957" y="787481"/>
                </a:cubicBezTo>
                <a:lnTo>
                  <a:pt x="20742935" y="901016"/>
                </a:lnTo>
                <a:lnTo>
                  <a:pt x="20742935" y="3471506"/>
                </a:lnTo>
                <a:lnTo>
                  <a:pt x="20739957" y="3585041"/>
                </a:lnTo>
                <a:cubicBezTo>
                  <a:pt x="20710027" y="4132570"/>
                  <a:pt x="20452417" y="4374000"/>
                  <a:pt x="19871385" y="4374000"/>
                </a:cubicBezTo>
                <a:lnTo>
                  <a:pt x="871552" y="4374000"/>
                </a:lnTo>
                <a:cubicBezTo>
                  <a:pt x="251782" y="4374000"/>
                  <a:pt x="0" y="4099306"/>
                  <a:pt x="0" y="3471435"/>
                </a:cubicBezTo>
                <a:cubicBezTo>
                  <a:pt x="0" y="3471435"/>
                  <a:pt x="0" y="3471435"/>
                  <a:pt x="0" y="901087"/>
                </a:cubicBezTo>
                <a:cubicBezTo>
                  <a:pt x="0" y="351700"/>
                  <a:pt x="192771" y="72714"/>
                  <a:pt x="656161" y="115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/>
              <a:t>vel</a:t>
            </a:r>
            <a:endParaRPr lang="en-GB" dirty="0"/>
          </a:p>
        </p:txBody>
      </p:sp>
      <p:sp>
        <p:nvSpPr>
          <p:cNvPr id="10" name="Slide Number Placeholder 5" hidden="1">
            <a:extLst>
              <a:ext uri="{FF2B5EF4-FFF2-40B4-BE49-F238E27FC236}">
                <a16:creationId xmlns:a16="http://schemas.microsoft.com/office/drawing/2014/main" id="{DB3E8C21-56F3-43EB-BF88-4EEB72C3F7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35D10A95-9140-4D91-8BAE-655D1782D7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100" baseline="0">
                <a:noFill/>
              </a:defRPr>
            </a:lvl1pPr>
          </a:lstStyle>
          <a:p>
            <a:pPr algn="r"/>
            <a:endParaRPr lang="en-DK" dirty="0"/>
          </a:p>
        </p:txBody>
      </p:sp>
      <p:sp>
        <p:nvSpPr>
          <p:cNvPr id="12" name="Date_DateCustomA" hidden="1">
            <a:extLst>
              <a:ext uri="{FF2B5EF4-FFF2-40B4-BE49-F238E27FC236}">
                <a16:creationId xmlns:a16="http://schemas.microsoft.com/office/drawing/2014/main" id="{3FA8083C-E59E-4629-A5C9-D403872552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en-GB" sz="100" smtClean="0">
                <a:noFill/>
              </a:defRPr>
            </a:lvl1pPr>
          </a:lstStyle>
          <a:p>
            <a:pPr algn="r"/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267125531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C267E1F-9146-4D51-A3EA-9E268FC35F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618" y="1945915"/>
            <a:ext cx="7330441" cy="2768684"/>
          </a:xfrm>
        </p:spPr>
        <p:txBody>
          <a:bodyPr/>
          <a:lstStyle>
            <a:lvl1pPr>
              <a:defRPr sz="3199" b="0" cap="none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Quotation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1E1ADCAE-53E0-4B32-A2CA-095078D0C6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6072" y="5018936"/>
            <a:ext cx="7332990" cy="1084011"/>
          </a:xfrm>
        </p:spPr>
        <p:txBody>
          <a:bodyPr lIns="0"/>
          <a:lstStyle>
            <a:lvl1pPr marL="0" indent="0">
              <a:buFont typeface="Arial" panose="020B0604020202020204" pitchFamily="34" charset="0"/>
              <a:buChar char="​"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Name, Title</a:t>
            </a:r>
            <a:endParaRPr lang="en-GB" dirty="0"/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E8FF56-E9E6-4CE1-A183-9B907183A27A}"/>
              </a:ext>
            </a:extLst>
          </p:cNvPr>
          <p:cNvSpPr txBox="1"/>
          <p:nvPr userDrawn="1"/>
        </p:nvSpPr>
        <p:spPr bwMode="auto">
          <a:xfrm>
            <a:off x="805541" y="2249830"/>
            <a:ext cx="1671855" cy="2829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2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2697" marR="0" indent="-25395" algn="l" defTabSz="457109" rtl="0" eaLnBrk="0" fontAlgn="base" latinLnBrk="0" hangingPunct="0">
              <a:lnSpc>
                <a:spcPts val="2163"/>
              </a:lnSpc>
              <a:spcBef>
                <a:spcPct val="0"/>
              </a:spcBef>
              <a:spcAft>
                <a:spcPts val="1500"/>
              </a:spcAft>
              <a:buClrTx/>
              <a:buSzTx/>
              <a:tabLst/>
            </a:pPr>
            <a:r>
              <a:rPr kumimoji="0" lang="en-GB" sz="19896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/>
                <a:ea typeface="Verdana" pitchFamily="34" charset="0"/>
                <a:cs typeface="Verdana" pitchFamily="34" charset="0"/>
              </a:rPr>
              <a:t>“</a:t>
            </a:r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A9AB153B-AFF1-4043-8D3F-263FEAF2377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617" y="6158174"/>
            <a:ext cx="1219359" cy="25711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GB" sz="1800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55D8EFE0-F00D-46BC-9E29-8C829868EF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tx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7" name="Date_DateCustomA">
            <a:extLst>
              <a:ext uri="{FF2B5EF4-FFF2-40B4-BE49-F238E27FC236}">
                <a16:creationId xmlns:a16="http://schemas.microsoft.com/office/drawing/2014/main" id="{BA90A93D-37F9-4C65-91AC-8C8D05B4C5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A8D4E2C-4AD4-4902-9AA6-258C412AEED1}" type="datetime1">
              <a:rPr lang="en-GB" smtClean="0"/>
              <a:t>30/11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82087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7">
            <a:extLst>
              <a:ext uri="{FF2B5EF4-FFF2-40B4-BE49-F238E27FC236}">
                <a16:creationId xmlns:a16="http://schemas.microsoft.com/office/drawing/2014/main" id="{65C857B0-BA7F-4231-B59A-526700FAC8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2E9997-006D-492C-9877-F7617EDD29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7" name="Date_DateCustomA">
            <a:extLst>
              <a:ext uri="{FF2B5EF4-FFF2-40B4-BE49-F238E27FC236}">
                <a16:creationId xmlns:a16="http://schemas.microsoft.com/office/drawing/2014/main" id="{5FC6988B-A4CB-4E12-A565-68D705C3AB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2E10D1A-D613-41CE-B02A-846290684BA0}" type="datetime1">
              <a:rPr lang="en-GB" smtClean="0"/>
              <a:t>30/11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965381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3ED85EA1-D7DA-4042-AE58-E34BD5AC52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5" name="Date_DateCustomA">
            <a:extLst>
              <a:ext uri="{FF2B5EF4-FFF2-40B4-BE49-F238E27FC236}">
                <a16:creationId xmlns:a16="http://schemas.microsoft.com/office/drawing/2014/main" id="{235F65ED-2265-47AB-ACC6-E4B66C3907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47FB7D42-25F0-4925-AB91-37097B4A81F1}" type="datetime1">
              <a:rPr lang="en-GB" smtClean="0"/>
              <a:t>30/11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972936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A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6FA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ctrTitle"/>
          </p:nvPr>
        </p:nvSpPr>
        <p:spPr>
          <a:xfrm>
            <a:off x="798617" y="452440"/>
            <a:ext cx="10590003" cy="1196444"/>
          </a:xfrm>
        </p:spPr>
        <p:txBody>
          <a:bodyPr tIns="0"/>
          <a:lstStyle>
            <a:lvl1pPr>
              <a:defRPr sz="3199" cap="all" baseline="0" smtClean="0">
                <a:solidFill>
                  <a:schemeClr val="bg1"/>
                </a:solidFill>
                <a:latin typeface="Verdana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35857DB-8C0B-4148-8AB1-F694D65BFA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862E3217-7BDA-45E6-ADB1-C065AF2645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9270F80D-0DED-41DC-8003-ACA44099192B}" type="datetime1">
              <a:rPr lang="en-GB" smtClean="0"/>
              <a:t>30/11/2023</a:t>
            </a:fld>
            <a:endParaRPr lang="en-GB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CCD3D23-05BF-4B57-8284-15FF6D12171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8617" y="6158174"/>
            <a:ext cx="2826368" cy="25554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858468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B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6FA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7DF7DBE-6CC3-4F9E-A396-E82820B89E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618" y="452439"/>
            <a:ext cx="4886960" cy="443194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hank you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AAE5DB4-A422-4286-935C-1ABCA4CCEF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8618" y="4970200"/>
            <a:ext cx="4886960" cy="365370"/>
          </a:xfrm>
        </p:spPr>
        <p:txBody>
          <a:bodyPr lIns="0" anchor="b" anchorCtr="0"/>
          <a:lstStyle>
            <a:lvl1pPr marL="0" indent="0"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Name, Department 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862EE0-F879-436B-A5EA-70A7F83ABF8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8618" y="5332765"/>
            <a:ext cx="4886960" cy="424314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395921" indent="0">
              <a:buFontTx/>
              <a:buNone/>
              <a:defRPr sz="1600">
                <a:solidFill>
                  <a:schemeClr val="bg1"/>
                </a:solidFill>
              </a:defRPr>
            </a:lvl2pPr>
            <a:lvl3pPr marL="727055" indent="0"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buFontTx/>
              <a:buNone/>
              <a:defRPr sz="1600">
                <a:solidFill>
                  <a:schemeClr val="bg1"/>
                </a:solidFill>
              </a:defRPr>
            </a:lvl4pPr>
            <a:lvl5pPr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x@ramboll.com</a:t>
            </a:r>
            <a:endParaRPr lang="en-GB" dirty="0"/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09855619-46E8-4B12-8D5A-DE35520219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8" name="Date_DateCustomA">
            <a:extLst>
              <a:ext uri="{FF2B5EF4-FFF2-40B4-BE49-F238E27FC236}">
                <a16:creationId xmlns:a16="http://schemas.microsoft.com/office/drawing/2014/main" id="{9CA6E42C-D397-4857-89FC-8B948A957D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5E849237-3873-4459-A547-67B1C8011873}" type="datetime1">
              <a:rPr lang="en-GB" smtClean="0"/>
              <a:t>30/11/2023</a:t>
            </a:fld>
            <a:endParaRPr lang="en-GB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49BD8C4-6612-438B-81F5-53DD9DF90E7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8617" y="6158174"/>
            <a:ext cx="2826825" cy="255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96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C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6FA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0DA34D-CD01-4059-B449-4DCD238F6A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1240"/>
            <a:ext cx="12192000" cy="6855521"/>
          </a:xfrm>
          <a:prstGeom prst="rect">
            <a:avLst/>
          </a:prstGeom>
        </p:spPr>
      </p:pic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35857DB-8C0B-4148-8AB1-F694D65BFA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862E3217-7BDA-45E6-ADB1-C065AF2645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9270F80D-0DED-41DC-8003-ACA44099192B}" type="datetime1">
              <a:rPr lang="en-GB" smtClean="0"/>
              <a:t>30/11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44197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SAMVEIS_Ph02_Illustrasjon_REV_1-02 AE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1" r="2061" b="-1"/>
          <a:stretch/>
        </p:blipFill>
        <p:spPr>
          <a:xfrm>
            <a:off x="234812" y="194134"/>
            <a:ext cx="11728842" cy="5376086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2158887" y="4330000"/>
            <a:ext cx="8073076" cy="937504"/>
          </a:xfrm>
          <a:prstGeom prst="rect">
            <a:avLst/>
          </a:prstGeom>
          <a:noFill/>
        </p:spPr>
        <p:txBody>
          <a:bodyPr wrap="square" lIns="75416" tIns="75416" rIns="75416" bIns="75416" rtlCol="0">
            <a:noAutofit/>
          </a:bodyPr>
          <a:lstStyle/>
          <a:p>
            <a:pPr algn="l"/>
            <a:endParaRPr lang="nb-NO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423985" y="2292449"/>
            <a:ext cx="11344031" cy="463607"/>
          </a:xfrm>
          <a:prstGeom prst="rect">
            <a:avLst/>
          </a:prstGeom>
          <a:noFill/>
          <a:effectLst/>
        </p:spPr>
        <p:txBody>
          <a:bodyPr wrap="square" lIns="36000" tIns="36000" rIns="36000" bIns="108000" rtlCol="0">
            <a:noAutofit/>
          </a:bodyPr>
          <a:lstStyle>
            <a:defPPr>
              <a:defRPr lang="en-US"/>
            </a:defPPr>
            <a:lvl1pPr marL="0" indent="0">
              <a:spcBef>
                <a:spcPct val="20000"/>
              </a:spcBef>
              <a:defRPr sz="60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algn="l"/>
            <a:r>
              <a:rPr lang="nb-NO" sz="2800" b="0" dirty="0">
                <a:solidFill>
                  <a:schemeClr val="tx1"/>
                </a:solidFill>
              </a:rPr>
              <a:t>Veikart for tjenesteinnovasjon</a:t>
            </a:r>
            <a:endParaRPr lang="nb-NO" sz="2000" b="0" dirty="0">
              <a:solidFill>
                <a:schemeClr val="tx1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12611" y="2773363"/>
            <a:ext cx="8199932" cy="432000"/>
          </a:xfrm>
        </p:spPr>
        <p:txBody>
          <a:bodyPr wrap="square" lIns="36000" tIns="36000" rIns="36000" bIns="36000">
            <a:norm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&lt;</a:t>
            </a:r>
            <a:r>
              <a:rPr lang="en-US" dirty="0" err="1"/>
              <a:t>Klikk</a:t>
            </a:r>
            <a:r>
              <a:rPr lang="en-US" dirty="0"/>
              <a:t> for </a:t>
            </a:r>
            <a:r>
              <a:rPr lang="en-US" dirty="0" err="1"/>
              <a:t>å</a:t>
            </a:r>
            <a:r>
              <a:rPr lang="en-US" dirty="0"/>
              <a:t> </a:t>
            </a:r>
            <a:r>
              <a:rPr lang="en-US" dirty="0" err="1"/>
              <a:t>legge</a:t>
            </a:r>
            <a:r>
              <a:rPr lang="en-US" dirty="0"/>
              <a:t> inn </a:t>
            </a:r>
            <a:r>
              <a:rPr lang="en-US" dirty="0" err="1"/>
              <a:t>navn</a:t>
            </a:r>
            <a:r>
              <a:rPr lang="en-US" dirty="0"/>
              <a:t>&lt;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9020633" y="5911388"/>
            <a:ext cx="3013258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/>
            <a:r>
              <a:rPr lang="nb-NO" sz="1050" kern="0" spc="19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V1.0  JULI 2015</a:t>
            </a:r>
          </a:p>
        </p:txBody>
      </p:sp>
      <p:pic>
        <p:nvPicPr>
          <p:cNvPr id="4" name="Picture 3" descr="temptlogo_aho.png"/>
          <p:cNvPicPr>
            <a:picLocks noChangeAspect="1"/>
          </p:cNvPicPr>
          <p:nvPr userDrawn="1"/>
        </p:nvPicPr>
        <p:blipFill>
          <a:blip r:embed="rId3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3179" y="5915730"/>
            <a:ext cx="8449258" cy="609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76010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258645" y="327263"/>
            <a:ext cx="6544649" cy="554269"/>
          </a:xfrm>
          <a:prstGeom prst="rect">
            <a:avLst/>
          </a:prstGeom>
          <a:noFill/>
        </p:spPr>
        <p:txBody>
          <a:bodyPr wrap="square" lIns="71990" tIns="71990" rIns="71990" bIns="71990" rtlCol="0">
            <a:noAutofit/>
          </a:bodyPr>
          <a:lstStyle/>
          <a:p>
            <a:pPr algn="l"/>
            <a:r>
              <a:rPr lang="nb-NO" sz="2800" dirty="0">
                <a:solidFill>
                  <a:schemeClr val="tx2"/>
                </a:solidFill>
                <a:latin typeface="Arial"/>
                <a:cs typeface="Arial"/>
              </a:rPr>
              <a:t>Innholdsfortegnelse</a:t>
            </a:r>
          </a:p>
          <a:p>
            <a:pPr algn="l"/>
            <a:r>
              <a:rPr lang="nb-NO" sz="2800" dirty="0">
                <a:solidFill>
                  <a:schemeClr val="tx2"/>
                </a:solidFill>
                <a:latin typeface="Arial"/>
                <a:cs typeface="Arial"/>
              </a:rPr>
              <a:t>   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58646" y="1310351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>
                <a:solidFill>
                  <a:srgbClr val="3A7E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221613" y="1310351"/>
            <a:ext cx="6216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>
                <a:solidFill>
                  <a:srgbClr val="3A7E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a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57908" y="1779071"/>
            <a:ext cx="6961205" cy="4313754"/>
          </a:xfrm>
        </p:spPr>
        <p:txBody>
          <a:bodyPr>
            <a:noAutofit/>
          </a:bodyPr>
          <a:lstStyle>
            <a:lvl1pPr>
              <a:tabLst>
                <a:tab pos="803275" algn="l"/>
              </a:tabLst>
              <a:defRPr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legge</a:t>
            </a:r>
            <a:r>
              <a:rPr lang="en-US" dirty="0"/>
              <a:t> inn </a:t>
            </a:r>
            <a:r>
              <a:rPr lang="en-US" dirty="0" err="1"/>
              <a:t>sidenumm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kapittel</a:t>
            </a:r>
            <a:r>
              <a:rPr lang="en-US" dirty="0"/>
              <a:t>. </a:t>
            </a:r>
            <a:r>
              <a:rPr lang="en-US" dirty="0" err="1"/>
              <a:t>Bruk</a:t>
            </a:r>
            <a:r>
              <a:rPr lang="en-US" dirty="0"/>
              <a:t> tab </a:t>
            </a:r>
            <a:r>
              <a:rPr lang="en-US" dirty="0" err="1"/>
              <a:t>etter</a:t>
            </a:r>
            <a:r>
              <a:rPr lang="en-US" dirty="0"/>
              <a:t> </a:t>
            </a:r>
            <a:r>
              <a:rPr lang="en-US" dirty="0" err="1"/>
              <a:t>sidenummer</a:t>
            </a:r>
            <a:endParaRPr lang="en-US" dirty="0"/>
          </a:p>
          <a:p>
            <a:pPr lvl="0"/>
            <a:r>
              <a:rPr lang="en-US" dirty="0"/>
              <a:t>	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244233" y="1634133"/>
            <a:ext cx="6974880" cy="0"/>
          </a:xfrm>
          <a:prstGeom prst="line">
            <a:avLst/>
          </a:prstGeom>
          <a:ln w="12700">
            <a:solidFill>
              <a:srgbClr val="9BA5A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109" y="6526438"/>
            <a:ext cx="3030415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20" name="Picture 19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7707412" y="1634464"/>
            <a:ext cx="4246524" cy="5066998"/>
          </a:xfrm>
          <a:prstGeom prst="rect">
            <a:avLst/>
          </a:prstGeom>
        </p:spPr>
      </p:pic>
      <p:sp>
        <p:nvSpPr>
          <p:cNvPr id="2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7868505" y="2080594"/>
            <a:ext cx="3911234" cy="2356517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nb-NO" sz="14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Veikart for tjenesteinnovasjon er en praktisk metodikk som setter kommunene i stand til å endre offentlige tjenester for å møte fremtiden. </a:t>
            </a:r>
          </a:p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nb-NO" sz="14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For å få tilgang til hele metodikken for tjenesteinnovasjon kan dere gå til </a:t>
            </a:r>
            <a:r>
              <a:rPr lang="nb-NO" sz="14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www.ks.no</a:t>
            </a:r>
            <a:r>
              <a:rPr lang="nb-NO" sz="14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/</a:t>
            </a:r>
            <a:r>
              <a:rPr lang="nb-NO" sz="14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samveis</a:t>
            </a:r>
            <a:r>
              <a:rPr lang="nb-NO" sz="14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 </a:t>
            </a:r>
          </a:p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nb-NO" sz="14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Dette dokumentet er et av verktøyene i metodikken, og dere finner det referert til i </a:t>
            </a:r>
            <a:r>
              <a:rPr lang="en-US" dirty="0"/>
              <a:t>[</a:t>
            </a:r>
            <a:r>
              <a:rPr lang="en-US" dirty="0" err="1"/>
              <a:t>Fase</a:t>
            </a:r>
            <a:r>
              <a:rPr lang="en-US" dirty="0"/>
              <a:t> </a:t>
            </a:r>
            <a:r>
              <a:rPr lang="en-US" dirty="0" err="1"/>
              <a:t>nr</a:t>
            </a:r>
            <a:r>
              <a:rPr lang="en-US" dirty="0"/>
              <a:t>, </a:t>
            </a:r>
            <a:r>
              <a:rPr lang="en-US" dirty="0" err="1"/>
              <a:t>Fasenavn</a:t>
            </a:r>
            <a:r>
              <a:rPr lang="en-US" dirty="0"/>
              <a:t>.]</a:t>
            </a:r>
          </a:p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endParaRPr lang="nb-NO" sz="1400" b="1" dirty="0">
              <a:solidFill>
                <a:schemeClr val="tx1"/>
              </a:solidFill>
              <a:latin typeface="Arial"/>
              <a:ea typeface="Calibri"/>
              <a:cs typeface="Arial"/>
            </a:endParaRP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7880470" y="1628800"/>
            <a:ext cx="3911234" cy="33520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marL="0" indent="0">
              <a:buNone/>
            </a:pPr>
            <a:r>
              <a:rPr lang="nb-NO" sz="1400" b="1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OM VEIKART FOR TJENESTEINNOVASJON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3224" y="4728614"/>
            <a:ext cx="3873762" cy="1795824"/>
          </a:xfrm>
          <a:prstGeom prst="rect">
            <a:avLst/>
          </a:prstGeom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950127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580">
          <p15:clr>
            <a:srgbClr val="FBAE40"/>
          </p15:clr>
        </p15:guide>
        <p15:guide id="3" pos="3846">
          <p15:clr>
            <a:srgbClr val="FBAE40"/>
          </p15:clr>
        </p15:guide>
        <p15:guide id="4" pos="1578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845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05"/>
          <a:stretch/>
        </p:blipFill>
        <p:spPr>
          <a:xfrm>
            <a:off x="245371" y="188640"/>
            <a:ext cx="11699894" cy="648044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2158887" y="4330000"/>
            <a:ext cx="8073076" cy="937504"/>
          </a:xfrm>
          <a:prstGeom prst="rect">
            <a:avLst/>
          </a:prstGeom>
          <a:noFill/>
        </p:spPr>
        <p:txBody>
          <a:bodyPr wrap="square" lIns="75416" tIns="75416" rIns="75416" bIns="75416" rtlCol="0">
            <a:noAutofit/>
          </a:bodyPr>
          <a:lstStyle/>
          <a:p>
            <a:pPr algn="l"/>
            <a:endParaRPr lang="nb-NO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42653" y="1628776"/>
            <a:ext cx="11344031" cy="1803722"/>
          </a:xfrm>
        </p:spPr>
        <p:txBody>
          <a:bodyPr anchor="b">
            <a:normAutofit/>
          </a:bodyPr>
          <a:lstStyle>
            <a:lvl1pPr>
              <a:defRPr sz="2800" b="0" baseline="0">
                <a:solidFill>
                  <a:srgbClr val="3A7EC0"/>
                </a:solidFill>
              </a:defRPr>
            </a:lvl1pPr>
          </a:lstStyle>
          <a:p>
            <a:pPr lvl="0"/>
            <a:r>
              <a:rPr lang="nb-NO" dirty="0"/>
              <a:t>Klikk for å skrive inn navn på kapittel</a:t>
            </a: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36158" y="3438248"/>
            <a:ext cx="8041349" cy="432000"/>
          </a:xfrm>
        </p:spPr>
        <p:txBody>
          <a:bodyPr wrap="square" lIns="36000" tIns="36000" rIns="36000" bIns="36000">
            <a:normAutofit/>
          </a:bodyPr>
          <a:lstStyle>
            <a:lvl1pPr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018435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image" Target="../media/image6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image" Target="../media/image6.png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5.xml"/><Relationship Id="rId26" Type="http://schemas.openxmlformats.org/officeDocument/2006/relationships/slideLayout" Target="../slideLayouts/slideLayout83.xml"/><Relationship Id="rId39" Type="http://schemas.openxmlformats.org/officeDocument/2006/relationships/slideLayout" Target="../slideLayouts/slideLayout96.xml"/><Relationship Id="rId21" Type="http://schemas.openxmlformats.org/officeDocument/2006/relationships/slideLayout" Target="../slideLayouts/slideLayout78.xml"/><Relationship Id="rId34" Type="http://schemas.openxmlformats.org/officeDocument/2006/relationships/slideLayout" Target="../slideLayouts/slideLayout91.xml"/><Relationship Id="rId42" Type="http://schemas.openxmlformats.org/officeDocument/2006/relationships/image" Target="../media/image10.png"/><Relationship Id="rId7" Type="http://schemas.openxmlformats.org/officeDocument/2006/relationships/slideLayout" Target="../slideLayouts/slideLayout64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0" Type="http://schemas.openxmlformats.org/officeDocument/2006/relationships/slideLayout" Target="../slideLayouts/slideLayout77.xml"/><Relationship Id="rId29" Type="http://schemas.openxmlformats.org/officeDocument/2006/relationships/slideLayout" Target="../slideLayouts/slideLayout86.xml"/><Relationship Id="rId41" Type="http://schemas.openxmlformats.org/officeDocument/2006/relationships/image" Target="../media/image9.png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24" Type="http://schemas.openxmlformats.org/officeDocument/2006/relationships/slideLayout" Target="../slideLayouts/slideLayout81.xml"/><Relationship Id="rId32" Type="http://schemas.openxmlformats.org/officeDocument/2006/relationships/slideLayout" Target="../slideLayouts/slideLayout89.xml"/><Relationship Id="rId37" Type="http://schemas.openxmlformats.org/officeDocument/2006/relationships/slideLayout" Target="../slideLayouts/slideLayout94.xml"/><Relationship Id="rId40" Type="http://schemas.openxmlformats.org/officeDocument/2006/relationships/theme" Target="../theme/theme6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23" Type="http://schemas.openxmlformats.org/officeDocument/2006/relationships/slideLayout" Target="../slideLayouts/slideLayout80.xml"/><Relationship Id="rId28" Type="http://schemas.openxmlformats.org/officeDocument/2006/relationships/slideLayout" Target="../slideLayouts/slideLayout85.xml"/><Relationship Id="rId36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67.xml"/><Relationship Id="rId19" Type="http://schemas.openxmlformats.org/officeDocument/2006/relationships/slideLayout" Target="../slideLayouts/slideLayout76.xml"/><Relationship Id="rId31" Type="http://schemas.openxmlformats.org/officeDocument/2006/relationships/slideLayout" Target="../slideLayouts/slideLayout88.xml"/><Relationship Id="rId44" Type="http://schemas.openxmlformats.org/officeDocument/2006/relationships/image" Target="../media/image12.png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Relationship Id="rId22" Type="http://schemas.openxmlformats.org/officeDocument/2006/relationships/slideLayout" Target="../slideLayouts/slideLayout79.xml"/><Relationship Id="rId27" Type="http://schemas.openxmlformats.org/officeDocument/2006/relationships/slideLayout" Target="../slideLayouts/slideLayout84.xml"/><Relationship Id="rId30" Type="http://schemas.openxmlformats.org/officeDocument/2006/relationships/slideLayout" Target="../slideLayouts/slideLayout87.xml"/><Relationship Id="rId35" Type="http://schemas.openxmlformats.org/officeDocument/2006/relationships/slideLayout" Target="../slideLayouts/slideLayout92.xml"/><Relationship Id="rId43" Type="http://schemas.openxmlformats.org/officeDocument/2006/relationships/image" Target="../media/image11.emf"/><Relationship Id="rId8" Type="http://schemas.openxmlformats.org/officeDocument/2006/relationships/slideLayout" Target="../slideLayouts/slideLayout65.xml"/><Relationship Id="rId3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5" Type="http://schemas.openxmlformats.org/officeDocument/2006/relationships/slideLayout" Target="../slideLayouts/slideLayout82.xml"/><Relationship Id="rId33" Type="http://schemas.openxmlformats.org/officeDocument/2006/relationships/slideLayout" Target="../slideLayouts/slideLayout90.xml"/><Relationship Id="rId38" Type="http://schemas.openxmlformats.org/officeDocument/2006/relationships/slideLayout" Target="../slideLayouts/slideLayout9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slideLayout" Target="../slideLayouts/slideLayout109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theme" Target="../theme/theme7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0" Type="http://schemas.openxmlformats.org/officeDocument/2006/relationships/image" Target="../media/image3.emf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10" Type="http://schemas.openxmlformats.org/officeDocument/2006/relationships/slideLayout" Target="../slideLayouts/slideLayout106.xml"/><Relationship Id="rId19" Type="http://schemas.openxmlformats.org/officeDocument/2006/relationships/oleObject" Target="../embeddings/oleObject2.bin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slideLayout" Target="../slideLayouts/slideLayout125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slideLayout" Target="../slideLayouts/slideLayout124.xml"/><Relationship Id="rId17" Type="http://schemas.openxmlformats.org/officeDocument/2006/relationships/theme" Target="../theme/theme8.xml"/><Relationship Id="rId2" Type="http://schemas.openxmlformats.org/officeDocument/2006/relationships/slideLayout" Target="../slideLayouts/slideLayout114.xml"/><Relationship Id="rId16" Type="http://schemas.openxmlformats.org/officeDocument/2006/relationships/slideLayout" Target="../slideLayouts/slideLayout128.xml"/><Relationship Id="rId20" Type="http://schemas.openxmlformats.org/officeDocument/2006/relationships/image" Target="../media/image3.emf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117.xml"/><Relationship Id="rId15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22.xml"/><Relationship Id="rId19" Type="http://schemas.openxmlformats.org/officeDocument/2006/relationships/oleObject" Target="../embeddings/oleObject3.bin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Relationship Id="rId14" Type="http://schemas.openxmlformats.org/officeDocument/2006/relationships/slideLayout" Target="../slideLayouts/slideLayout1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1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0" y="1692122"/>
            <a:ext cx="10972800" cy="593878"/>
          </a:xfrm>
          <a:prstGeom prst="rect">
            <a:avLst/>
          </a:prstGeom>
        </p:spPr>
        <p:txBody>
          <a:bodyPr vert="horz" lIns="91440" tIns="0" rIns="91440" bIns="0" rtlCol="0" anchor="t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2519516"/>
            <a:ext cx="10972800" cy="26971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276215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  <p:sldLayoutId id="2147483816" r:id="rId8"/>
    <p:sldLayoutId id="2147483817" r:id="rId9"/>
    <p:sldLayoutId id="2147483818" r:id="rId10"/>
    <p:sldLayoutId id="2147483819" r:id="rId1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/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chemeClr val="tx2"/>
          </a:solidFill>
          <a:latin typeface="Calibri"/>
          <a:ea typeface="+mj-ea"/>
          <a:cs typeface="Calibri"/>
        </a:defRPr>
      </a:lvl1pPr>
    </p:titleStyle>
    <p:bodyStyle>
      <a:lvl1pPr marL="180975" indent="-180975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•"/>
        <a:defRPr sz="2000" kern="1200">
          <a:solidFill>
            <a:schemeClr val="tx2"/>
          </a:solidFill>
          <a:latin typeface="Calibri"/>
          <a:ea typeface="+mn-ea"/>
          <a:cs typeface="Calibri"/>
        </a:defRPr>
      </a:lvl1pPr>
      <a:lvl2pPr marL="630238" indent="-269875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–"/>
        <a:defRPr sz="2000" kern="1200">
          <a:solidFill>
            <a:schemeClr val="tx2"/>
          </a:solidFill>
          <a:latin typeface="Calibri"/>
          <a:ea typeface="+mn-ea"/>
          <a:cs typeface="Calibri"/>
        </a:defRPr>
      </a:lvl2pPr>
      <a:lvl3pPr marL="982663" indent="-179388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•"/>
        <a:defRPr sz="2000" kern="1200">
          <a:solidFill>
            <a:schemeClr val="tx2"/>
          </a:solidFill>
          <a:latin typeface="Calibri"/>
          <a:ea typeface="+mn-ea"/>
          <a:cs typeface="Calibri"/>
        </a:defRPr>
      </a:lvl3pPr>
      <a:lvl4pPr marL="1524000" indent="-269875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–"/>
        <a:tabLst/>
        <a:defRPr sz="2000" kern="1200">
          <a:solidFill>
            <a:schemeClr val="tx2"/>
          </a:solidFill>
          <a:latin typeface="Calibri"/>
          <a:ea typeface="+mn-ea"/>
          <a:cs typeface="Calibri"/>
        </a:defRPr>
      </a:lvl4pPr>
      <a:lvl5pPr marL="1974850" indent="-269875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»"/>
        <a:defRPr sz="2000" kern="1200">
          <a:solidFill>
            <a:schemeClr val="tx2"/>
          </a:solidFill>
          <a:latin typeface="Calibri"/>
          <a:ea typeface="+mn-ea"/>
          <a:cs typeface="Calibri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1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0" y="1692122"/>
            <a:ext cx="10972800" cy="593878"/>
          </a:xfrm>
          <a:prstGeom prst="rect">
            <a:avLst/>
          </a:prstGeom>
        </p:spPr>
        <p:txBody>
          <a:bodyPr vert="horz" lIns="91440" tIns="0" rIns="91440" bIns="0" rtlCol="0" anchor="t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2519516"/>
            <a:ext cx="10972800" cy="26971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98571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29" r:id="rId9"/>
    <p:sldLayoutId id="2147483830" r:id="rId10"/>
    <p:sldLayoutId id="2147483831" r:id="rId11"/>
  </p:sldLayoutIdLst>
  <p:hf sldNum="0" hdr="0" ftr="0"/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chemeClr val="tx2"/>
          </a:solidFill>
          <a:latin typeface="Calibri"/>
          <a:ea typeface="+mj-ea"/>
          <a:cs typeface="Calibri"/>
        </a:defRPr>
      </a:lvl1pPr>
    </p:titleStyle>
    <p:bodyStyle>
      <a:lvl1pPr marL="180975" indent="-180975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•"/>
        <a:defRPr sz="2000" kern="1200">
          <a:solidFill>
            <a:schemeClr val="tx2"/>
          </a:solidFill>
          <a:latin typeface="Calibri"/>
          <a:ea typeface="+mn-ea"/>
          <a:cs typeface="Calibri"/>
        </a:defRPr>
      </a:lvl1pPr>
      <a:lvl2pPr marL="630238" indent="-269875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–"/>
        <a:defRPr sz="2000" kern="1200">
          <a:solidFill>
            <a:schemeClr val="tx2"/>
          </a:solidFill>
          <a:latin typeface="Calibri"/>
          <a:ea typeface="+mn-ea"/>
          <a:cs typeface="Calibri"/>
        </a:defRPr>
      </a:lvl2pPr>
      <a:lvl3pPr marL="982663" indent="-179388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•"/>
        <a:defRPr sz="2000" kern="1200">
          <a:solidFill>
            <a:schemeClr val="tx2"/>
          </a:solidFill>
          <a:latin typeface="Calibri"/>
          <a:ea typeface="+mn-ea"/>
          <a:cs typeface="Calibri"/>
        </a:defRPr>
      </a:lvl3pPr>
      <a:lvl4pPr marL="1524000" indent="-269875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–"/>
        <a:tabLst/>
        <a:defRPr sz="2000" kern="1200">
          <a:solidFill>
            <a:schemeClr val="tx2"/>
          </a:solidFill>
          <a:latin typeface="Calibri"/>
          <a:ea typeface="+mn-ea"/>
          <a:cs typeface="Calibri"/>
        </a:defRPr>
      </a:lvl4pPr>
      <a:lvl5pPr marL="1974850" indent="-269875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»"/>
        <a:defRPr sz="2000" kern="1200">
          <a:solidFill>
            <a:schemeClr val="tx2"/>
          </a:solidFill>
          <a:latin typeface="Calibri"/>
          <a:ea typeface="+mn-ea"/>
          <a:cs typeface="Calibri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540296189"/>
              </p:ext>
            </p:extLst>
          </p:nvPr>
        </p:nvGraphicFramePr>
        <p:xfrm>
          <a:off x="2121" y="1592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21" y="1592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825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27052" y="475200"/>
            <a:ext cx="11136000" cy="8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0826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7052" y="1843200"/>
            <a:ext cx="11136000" cy="39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44000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835" r:id="rId3"/>
    <p:sldLayoutId id="2147483836" r:id="rId4"/>
    <p:sldLayoutId id="2147483837" r:id="rId5"/>
    <p:sldLayoutId id="2147483838" r:id="rId6"/>
    <p:sldLayoutId id="2147483839" r:id="rId7"/>
    <p:sldLayoutId id="2147483840" r:id="rId8"/>
    <p:sldLayoutId id="2147483841" r:id="rId9"/>
    <p:sldLayoutId id="2147483842" r:id="rId10"/>
    <p:sldLayoutId id="2147483843" r:id="rId11"/>
  </p:sldLayoutIdLst>
  <p:hf hdr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500" b="1" i="0">
          <a:solidFill>
            <a:schemeClr val="accent3"/>
          </a:solidFill>
          <a:latin typeface="+mn-lt"/>
          <a:ea typeface="+mj-ea"/>
          <a:cs typeface="Times New Roman" pitchFamily="18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333333"/>
          </a:solidFill>
          <a:latin typeface="Helvetica 65 Medium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333333"/>
          </a:solidFill>
          <a:latin typeface="Helvetica 65 Medium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333333"/>
          </a:solidFill>
          <a:latin typeface="Helvetica 65 Medium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333333"/>
          </a:solidFill>
          <a:latin typeface="Helvetica 65 Medium" pitchFamily="34" charset="0"/>
        </a:defRPr>
      </a:lvl5pPr>
      <a:lvl6pPr marL="51115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333333"/>
          </a:solidFill>
          <a:latin typeface="Helvetica 65 Medium" pitchFamily="34" charset="0"/>
        </a:defRPr>
      </a:lvl6pPr>
      <a:lvl7pPr marL="1022302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333333"/>
          </a:solidFill>
          <a:latin typeface="Helvetica 65 Medium" pitchFamily="34" charset="0"/>
        </a:defRPr>
      </a:lvl7pPr>
      <a:lvl8pPr marL="1533451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333333"/>
          </a:solidFill>
          <a:latin typeface="Helvetica 65 Medium" pitchFamily="34" charset="0"/>
        </a:defRPr>
      </a:lvl8pPr>
      <a:lvl9pPr marL="204461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333333"/>
          </a:solidFill>
          <a:latin typeface="Helvetica 65 Medium" pitchFamily="34" charset="0"/>
        </a:defRPr>
      </a:lvl9pPr>
    </p:titleStyle>
    <p:bodyStyle>
      <a:lvl1pPr marL="266268" indent="-266268" algn="l" rtl="0" eaLnBrk="1" fontAlgn="base" hangingPunct="1">
        <a:spcBef>
          <a:spcPts val="336"/>
        </a:spcBef>
        <a:spcAft>
          <a:spcPts val="336"/>
        </a:spcAft>
        <a:buFont typeface="Arial" panose="020B0604020202020204" pitchFamily="34" charset="0"/>
        <a:buChar char="•"/>
        <a:defRPr sz="2000">
          <a:solidFill>
            <a:srgbClr val="080808"/>
          </a:solidFill>
          <a:latin typeface="+mn-lt"/>
          <a:ea typeface="+mn-ea"/>
          <a:cs typeface="Arial" pitchFamily="34" charset="0"/>
        </a:defRPr>
      </a:lvl1pPr>
      <a:lvl2pPr marL="542047" indent="-275779" algn="l" rtl="0" eaLnBrk="1" fontAlgn="base" hangingPunct="1">
        <a:spcBef>
          <a:spcPts val="448"/>
        </a:spcBef>
        <a:spcAft>
          <a:spcPts val="448"/>
        </a:spcAft>
        <a:buChar char="–"/>
        <a:defRPr sz="2000">
          <a:solidFill>
            <a:srgbClr val="080808"/>
          </a:solidFill>
          <a:latin typeface="+mn-lt"/>
          <a:cs typeface="Arial" pitchFamily="34" charset="0"/>
        </a:defRPr>
      </a:lvl2pPr>
      <a:lvl3pPr marL="903391" indent="-296404" algn="l" rtl="0" eaLnBrk="1" fontAlgn="base" hangingPunct="1">
        <a:spcBef>
          <a:spcPts val="448"/>
        </a:spcBef>
        <a:spcAft>
          <a:spcPts val="448"/>
        </a:spcAft>
        <a:buChar char="•"/>
        <a:defRPr sz="2600">
          <a:solidFill>
            <a:srgbClr val="080808"/>
          </a:solidFill>
          <a:latin typeface="+mn-lt"/>
          <a:cs typeface="Arial" pitchFamily="34" charset="0"/>
        </a:defRPr>
      </a:lvl3pPr>
      <a:lvl4pPr marL="1308052" indent="-308822" algn="l" rtl="0" eaLnBrk="1" fontAlgn="base" hangingPunct="1">
        <a:spcBef>
          <a:spcPts val="448"/>
        </a:spcBef>
        <a:spcAft>
          <a:spcPts val="448"/>
        </a:spcAft>
        <a:buChar char="–"/>
        <a:defRPr sz="2600">
          <a:solidFill>
            <a:srgbClr val="080808"/>
          </a:solidFill>
          <a:latin typeface="+mn-lt"/>
          <a:cs typeface="Arial" pitchFamily="34" charset="0"/>
        </a:defRPr>
      </a:lvl4pPr>
      <a:lvl5pPr marL="1700285" indent="-298170" algn="l" rtl="0" eaLnBrk="1" fontAlgn="base" hangingPunct="1">
        <a:spcBef>
          <a:spcPts val="448"/>
        </a:spcBef>
        <a:spcAft>
          <a:spcPts val="448"/>
        </a:spcAft>
        <a:buChar char="»"/>
        <a:defRPr sz="2600">
          <a:solidFill>
            <a:srgbClr val="080808"/>
          </a:solidFill>
          <a:latin typeface="+mn-lt"/>
          <a:cs typeface="Arial" pitchFamily="34" charset="0"/>
        </a:defRPr>
      </a:lvl5pPr>
      <a:lvl6pPr marL="2811330" indent="-255582" algn="l" rtl="0" eaLnBrk="1" fontAlgn="base" hangingPunct="1">
        <a:spcBef>
          <a:spcPct val="20000"/>
        </a:spcBef>
        <a:spcAft>
          <a:spcPct val="0"/>
        </a:spcAft>
        <a:buChar char="»"/>
        <a:defRPr sz="2300">
          <a:solidFill>
            <a:srgbClr val="333333"/>
          </a:solidFill>
          <a:latin typeface="+mn-lt"/>
        </a:defRPr>
      </a:lvl6pPr>
      <a:lvl7pPr marL="3322481" indent="-255582" algn="l" rtl="0" eaLnBrk="1" fontAlgn="base" hangingPunct="1">
        <a:spcBef>
          <a:spcPct val="20000"/>
        </a:spcBef>
        <a:spcAft>
          <a:spcPct val="0"/>
        </a:spcAft>
        <a:buChar char="»"/>
        <a:defRPr sz="2300">
          <a:solidFill>
            <a:srgbClr val="333333"/>
          </a:solidFill>
          <a:latin typeface="+mn-lt"/>
        </a:defRPr>
      </a:lvl7pPr>
      <a:lvl8pPr marL="3833638" indent="-255582" algn="l" rtl="0" eaLnBrk="1" fontAlgn="base" hangingPunct="1">
        <a:spcBef>
          <a:spcPct val="20000"/>
        </a:spcBef>
        <a:spcAft>
          <a:spcPct val="0"/>
        </a:spcAft>
        <a:buChar char="»"/>
        <a:defRPr sz="2300">
          <a:solidFill>
            <a:srgbClr val="333333"/>
          </a:solidFill>
          <a:latin typeface="+mn-lt"/>
        </a:defRPr>
      </a:lvl8pPr>
      <a:lvl9pPr marL="4344784" indent="-255582" algn="l" rtl="0" eaLnBrk="1" fontAlgn="base" hangingPunct="1">
        <a:spcBef>
          <a:spcPct val="20000"/>
        </a:spcBef>
        <a:spcAft>
          <a:spcPct val="0"/>
        </a:spcAft>
        <a:buChar char="»"/>
        <a:defRPr sz="2300">
          <a:solidFill>
            <a:srgbClr val="333333"/>
          </a:solidFill>
          <a:latin typeface="+mn-lt"/>
        </a:defRPr>
      </a:lvl9pPr>
    </p:bodyStyle>
    <p:otherStyle>
      <a:defPPr>
        <a:defRPr lang="en-US"/>
      </a:defPPr>
      <a:lvl1pPr marL="0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150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2302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3451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4610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5756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66906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78055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89209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0" y="63906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913324"/>
            <a:ext cx="10972800" cy="35577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30.11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1" y="617378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pic>
        <p:nvPicPr>
          <p:cNvPr id="8" name="Bilde 7" descr="ks_hovedlogo_rgb.pn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8244" y="6173787"/>
            <a:ext cx="730357" cy="364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946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  <p:sldLayoutId id="2147483882" r:id="rId12"/>
  </p:sldLayoutIdLst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rgbClr val="001A58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01A58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01A58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01A58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01A58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001A58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0" y="63906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913324"/>
            <a:ext cx="10972800" cy="35577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84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30.11.2023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84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41" y="617384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Bilde 7" descr="ks_hovedlogo_rgb.pn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8244" y="6173847"/>
            <a:ext cx="730357" cy="364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1155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85" r:id="rId2"/>
    <p:sldLayoutId id="2147483886" r:id="rId3"/>
    <p:sldLayoutId id="2147483887" r:id="rId4"/>
    <p:sldLayoutId id="2147483888" r:id="rId5"/>
    <p:sldLayoutId id="2147483889" r:id="rId6"/>
    <p:sldLayoutId id="2147483890" r:id="rId7"/>
    <p:sldLayoutId id="2147483891" r:id="rId8"/>
    <p:sldLayoutId id="2147483892" r:id="rId9"/>
    <p:sldLayoutId id="2147483893" r:id="rId10"/>
    <p:sldLayoutId id="2147483894" r:id="rId11"/>
    <p:sldLayoutId id="2147483895" r:id="rId12"/>
  </p:sldLayoutIdLst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rgbClr val="001A58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01A58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01A58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01A58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01A58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001A58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798618" y="312767"/>
            <a:ext cx="10590003" cy="7486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800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noProof="0" dirty="0"/>
              <a:t>Presentation title</a:t>
            </a:r>
            <a:br>
              <a:rPr lang="en-GB" noProof="0" dirty="0"/>
            </a:br>
            <a:r>
              <a:rPr lang="en-GB" noProof="0" dirty="0"/>
              <a:t>(in cyan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08620" y="6280546"/>
            <a:ext cx="480000" cy="15557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 b="0" baseline="0"/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31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798617" y="1647826"/>
            <a:ext cx="10590003" cy="4059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4 No bullet text 18</a:t>
            </a:r>
          </a:p>
          <a:p>
            <a:pPr lvl="4"/>
            <a:r>
              <a:rPr lang="en-GB" noProof="0" dirty="0"/>
              <a:t>5 </a:t>
            </a:r>
            <a:r>
              <a:rPr lang="en-GB" noProof="0" dirty="0" err="1"/>
              <a:t>Megaheader</a:t>
            </a:r>
            <a:r>
              <a:rPr lang="en-GB" noProof="0" dirty="0"/>
              <a:t> caps 48</a:t>
            </a:r>
          </a:p>
          <a:p>
            <a:pPr lvl="5"/>
            <a:r>
              <a:rPr lang="en-GB" noProof="0" dirty="0"/>
              <a:t>6 Header caps 18</a:t>
            </a:r>
          </a:p>
          <a:p>
            <a:pPr lvl="6"/>
            <a:r>
              <a:rPr lang="en-GB" noProof="0" dirty="0"/>
              <a:t>7 Text 18</a:t>
            </a:r>
          </a:p>
          <a:p>
            <a:pPr lvl="7"/>
            <a:r>
              <a:rPr lang="en-GB" noProof="0" dirty="0"/>
              <a:t>8 Number 16</a:t>
            </a:r>
          </a:p>
          <a:p>
            <a:pPr lvl="8"/>
            <a:r>
              <a:rPr lang="en-GB" noProof="0" dirty="0"/>
              <a:t>9 Letter 16</a:t>
            </a:r>
          </a:p>
          <a:p>
            <a:pPr lvl="8"/>
            <a:endParaRPr lang="en-GB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9E4955-7821-481C-9AF7-C7D9376755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56591" y="6280502"/>
            <a:ext cx="6515949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0" name="Date_DateCustomA">
            <a:extLst>
              <a:ext uri="{FF2B5EF4-FFF2-40B4-BE49-F238E27FC236}">
                <a16:creationId xmlns:a16="http://schemas.microsoft.com/office/drawing/2014/main" id="{ADC3E656-DC3F-4718-B1B2-E5B4B66615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E8A079D-0F01-4087-8466-404AA9697848}" type="datetime1">
              <a:rPr lang="da-DK" smtClean="0"/>
              <a:t>30-11-2023</a:t>
            </a:fld>
            <a:endParaRPr lang="da-DK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135459E-96A0-4D48-B1D9-A034EE07E024}"/>
              </a:ext>
            </a:extLst>
          </p:cNvPr>
          <p:cNvGrpSpPr/>
          <p:nvPr userDrawn="1"/>
        </p:nvGrpSpPr>
        <p:grpSpPr>
          <a:xfrm>
            <a:off x="-1972350" y="522085"/>
            <a:ext cx="1797025" cy="2906915"/>
            <a:chOff x="-1899137" y="-1"/>
            <a:chExt cx="1796791" cy="2907588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7DF113FF-8BE3-4207-A5C6-F4579EED1B78}"/>
                </a:ext>
              </a:extLst>
            </p:cNvPr>
            <p:cNvGrpSpPr/>
            <p:nvPr userDrawn="1"/>
          </p:nvGrpSpPr>
          <p:grpSpPr>
            <a:xfrm>
              <a:off x="-1899137" y="-1"/>
              <a:ext cx="1796791" cy="2907588"/>
              <a:chOff x="9009867" y="1645032"/>
              <a:chExt cx="2365739" cy="3828268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5359A05F-1860-4448-A740-55E89B6688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1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18399B32-2EE3-49AE-80A0-6797B01E89E6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697" marR="0" indent="-25395" algn="l" defTabSz="457109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  <p:sp>
            <p:nvSpPr>
              <p:cNvPr id="14" name="Rectangle: Rounded Corners 13">
                <a:extLst>
                  <a:ext uri="{FF2B5EF4-FFF2-40B4-BE49-F238E27FC236}">
                    <a16:creationId xmlns:a16="http://schemas.microsoft.com/office/drawing/2014/main" id="{6A251040-79B2-4E75-B580-29B9D6CC1B9D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3193"/>
                </a:avLst>
              </a:prstGeom>
              <a:noFill/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accent3"/>
                  </a:solidFill>
                </a:endParaRPr>
              </a:p>
            </p:txBody>
          </p:sp>
        </p:grp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225B3411-6214-4AE2-A1EF-BEE63EC00B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2"/>
            <a:stretch>
              <a:fillRect/>
            </a:stretch>
          </p:blipFill>
          <p:spPr>
            <a:xfrm>
              <a:off x="-1884053" y="1200637"/>
              <a:ext cx="1418614" cy="1444137"/>
            </a:xfrm>
            <a:prstGeom prst="rect">
              <a:avLst/>
            </a:prstGeom>
          </p:spPr>
        </p:pic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038C835D-7A3F-4157-850A-1556A9D8479F}"/>
              </a:ext>
            </a:extLst>
          </p:cNvPr>
          <p:cNvPicPr>
            <a:picLocks noChangeAspect="1"/>
          </p:cNvPicPr>
          <p:nvPr userDrawn="1"/>
        </p:nvPicPr>
        <p:blipFill>
          <a:blip r:embed="rId43"/>
          <a:stretch>
            <a:fillRect/>
          </a:stretch>
        </p:blipFill>
        <p:spPr>
          <a:xfrm>
            <a:off x="798617" y="6158174"/>
            <a:ext cx="2826826" cy="255541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6515BF35-693E-4749-821E-5148CED147C8}"/>
              </a:ext>
            </a:extLst>
          </p:cNvPr>
          <p:cNvSpPr/>
          <p:nvPr userDrawn="1"/>
        </p:nvSpPr>
        <p:spPr>
          <a:xfrm>
            <a:off x="2052092" y="6141510"/>
            <a:ext cx="1573352" cy="27220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ADE70B8-E712-464A-820F-239445307AD0}"/>
              </a:ext>
            </a:extLst>
          </p:cNvPr>
          <p:cNvPicPr>
            <a:picLocks noChangeAspect="1"/>
          </p:cNvPicPr>
          <p:nvPr userDrawn="1"/>
        </p:nvPicPr>
        <p:blipFill>
          <a:blip r:embed="rId44"/>
          <a:stretch>
            <a:fillRect/>
          </a:stretch>
        </p:blipFill>
        <p:spPr>
          <a:xfrm>
            <a:off x="2212030" y="6140507"/>
            <a:ext cx="868130" cy="435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197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3" r:id="rId7"/>
    <p:sldLayoutId id="2147483904" r:id="rId8"/>
    <p:sldLayoutId id="2147483905" r:id="rId9"/>
    <p:sldLayoutId id="2147483906" r:id="rId10"/>
    <p:sldLayoutId id="2147483907" r:id="rId11"/>
    <p:sldLayoutId id="2147483908" r:id="rId12"/>
    <p:sldLayoutId id="2147483909" r:id="rId13"/>
    <p:sldLayoutId id="2147483910" r:id="rId14"/>
    <p:sldLayoutId id="2147483911" r:id="rId15"/>
    <p:sldLayoutId id="2147483912" r:id="rId16"/>
    <p:sldLayoutId id="2147483913" r:id="rId17"/>
    <p:sldLayoutId id="2147483914" r:id="rId18"/>
    <p:sldLayoutId id="2147483915" r:id="rId19"/>
    <p:sldLayoutId id="2147483916" r:id="rId20"/>
    <p:sldLayoutId id="2147483917" r:id="rId21"/>
    <p:sldLayoutId id="2147483918" r:id="rId22"/>
    <p:sldLayoutId id="2147483919" r:id="rId23"/>
    <p:sldLayoutId id="2147483920" r:id="rId24"/>
    <p:sldLayoutId id="2147483921" r:id="rId25"/>
    <p:sldLayoutId id="2147483922" r:id="rId26"/>
    <p:sldLayoutId id="2147483923" r:id="rId27"/>
    <p:sldLayoutId id="2147483924" r:id="rId28"/>
    <p:sldLayoutId id="2147483925" r:id="rId29"/>
    <p:sldLayoutId id="2147483926" r:id="rId30"/>
    <p:sldLayoutId id="2147483927" r:id="rId31"/>
    <p:sldLayoutId id="2147483928" r:id="rId32"/>
    <p:sldLayoutId id="2147483929" r:id="rId33"/>
    <p:sldLayoutId id="2147483930" r:id="rId34"/>
    <p:sldLayoutId id="2147483931" r:id="rId35"/>
    <p:sldLayoutId id="2147483932" r:id="rId36"/>
    <p:sldLayoutId id="2147483933" r:id="rId37"/>
    <p:sldLayoutId id="2147483934" r:id="rId38"/>
    <p:sldLayoutId id="2147483935" r:id="rId39"/>
  </p:sldLayoutIdLst>
  <p:hf sldNum="0" hdr="0" ftr="0" dt="0"/>
  <p:txStyles>
    <p:titleStyle>
      <a:lvl1pPr algn="l" defTabSz="457098" rtl="0" eaLnBrk="1" fontAlgn="base" hangingPunct="1">
        <a:spcBef>
          <a:spcPct val="0"/>
        </a:spcBef>
        <a:spcAft>
          <a:spcPct val="0"/>
        </a:spcAft>
        <a:defRPr sz="2400" b="1" kern="1200" cap="all" spc="-50" baseline="0">
          <a:solidFill>
            <a:schemeClr val="tx2"/>
          </a:solidFill>
          <a:latin typeface="Verdana"/>
          <a:ea typeface="Verdana" pitchFamily="34" charset="0"/>
          <a:cs typeface="Verdana" pitchFamily="34" charset="0"/>
        </a:defRPr>
      </a:lvl1pPr>
      <a:lvl2pPr algn="l" defTabSz="457098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2pPr>
      <a:lvl3pPr algn="l" defTabSz="457098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3pPr>
      <a:lvl4pPr algn="l" defTabSz="457098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4pPr>
      <a:lvl5pPr algn="l" defTabSz="457098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5pPr>
      <a:lvl6pPr marL="457098" algn="l" defTabSz="457098" rtl="0" eaLnBrk="1" fontAlgn="base" hangingPunct="1">
        <a:spcBef>
          <a:spcPct val="0"/>
        </a:spcBef>
        <a:spcAft>
          <a:spcPct val="0"/>
        </a:spcAft>
        <a:defRPr sz="3199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6pPr>
      <a:lvl7pPr marL="914194" algn="l" defTabSz="457098" rtl="0" eaLnBrk="1" fontAlgn="base" hangingPunct="1">
        <a:spcBef>
          <a:spcPct val="0"/>
        </a:spcBef>
        <a:spcAft>
          <a:spcPct val="0"/>
        </a:spcAft>
        <a:defRPr sz="3199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7pPr>
      <a:lvl8pPr marL="1371292" algn="l" defTabSz="457098" rtl="0" eaLnBrk="1" fontAlgn="base" hangingPunct="1">
        <a:spcBef>
          <a:spcPct val="0"/>
        </a:spcBef>
        <a:spcAft>
          <a:spcPct val="0"/>
        </a:spcAft>
        <a:defRPr sz="3199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8pPr>
      <a:lvl9pPr marL="1828388" algn="l" defTabSz="457098" rtl="0" eaLnBrk="1" fontAlgn="base" hangingPunct="1">
        <a:spcBef>
          <a:spcPct val="0"/>
        </a:spcBef>
        <a:spcAft>
          <a:spcPct val="0"/>
        </a:spcAft>
        <a:defRPr sz="3199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9pPr>
    </p:titleStyle>
    <p:bodyStyle>
      <a:lvl1pPr marL="251950" indent="-251950" algn="l" defTabSz="457098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Verdana" pitchFamily="34" charset="0"/>
        <a:buChar char="•"/>
        <a:defRPr kern="1200" spc="-50" baseline="0">
          <a:solidFill>
            <a:schemeClr val="tx1"/>
          </a:solidFill>
          <a:latin typeface="Verdana"/>
          <a:ea typeface="Verdana" pitchFamily="34" charset="0"/>
          <a:cs typeface="Verdana" pitchFamily="34" charset="0"/>
        </a:defRPr>
      </a:lvl1pPr>
      <a:lvl2pPr marL="647870" indent="-251950" algn="l" defTabSz="457098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Verdana" pitchFamily="34" charset="0"/>
        <a:buChar char="•"/>
        <a:defRPr sz="1600" kern="1200" spc="-50" baseline="0">
          <a:solidFill>
            <a:schemeClr val="tx1"/>
          </a:solidFill>
          <a:latin typeface="Verdana"/>
          <a:ea typeface="Verdana" pitchFamily="34" charset="0"/>
          <a:cs typeface="+mn-cs"/>
        </a:defRPr>
      </a:lvl2pPr>
      <a:lvl3pPr marL="979004" indent="-251950" algn="l" defTabSz="457098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Verdana" pitchFamily="34" charset="0"/>
        <a:buChar char="•"/>
        <a:defRPr sz="1400" kern="1200" spc="-50" baseline="0">
          <a:solidFill>
            <a:schemeClr val="tx1"/>
          </a:solidFill>
          <a:latin typeface="Verdana"/>
          <a:ea typeface="Verdana" pitchFamily="34" charset="0"/>
          <a:cs typeface="+mn-cs"/>
        </a:defRPr>
      </a:lvl3pPr>
      <a:lvl4pPr marL="0" indent="0" algn="l" defTabSz="457098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Arial" panose="020B0604020202020204" pitchFamily="34" charset="0"/>
        <a:buChar char="​"/>
        <a:defRPr sz="1800" kern="1200" spc="-50" baseline="0">
          <a:solidFill>
            <a:schemeClr val="tx1"/>
          </a:solidFill>
          <a:latin typeface="Verdana"/>
          <a:ea typeface="Verdana" pitchFamily="34" charset="0"/>
          <a:cs typeface="+mn-cs"/>
        </a:defRPr>
      </a:lvl4pPr>
      <a:lvl5pPr marL="0" indent="0" algn="l" defTabSz="457098" rtl="0" eaLnBrk="1" fontAlgn="base" hangingPunct="1">
        <a:lnSpc>
          <a:spcPct val="80000"/>
        </a:lnSpc>
        <a:spcBef>
          <a:spcPct val="0"/>
        </a:spcBef>
        <a:spcAft>
          <a:spcPts val="1200"/>
        </a:spcAft>
        <a:buFont typeface="Arial" panose="020B0604020202020204" pitchFamily="34" charset="0"/>
        <a:buChar char="​"/>
        <a:defRPr sz="4799" b="1" kern="1200" cap="all" spc="-100" baseline="0">
          <a:solidFill>
            <a:schemeClr val="tx1"/>
          </a:solidFill>
          <a:latin typeface="Verdana"/>
          <a:ea typeface="Verdana" pitchFamily="34" charset="0"/>
          <a:cs typeface="+mn-cs"/>
        </a:defRPr>
      </a:lvl5pPr>
      <a:lvl6pPr marL="0" indent="0" algn="l" defTabSz="457098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​"/>
        <a:defRPr sz="1800" b="1" kern="1200" cap="all" spc="-50" baseline="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457098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1800" i="0" kern="1200" spc="-50">
          <a:solidFill>
            <a:schemeClr val="bg2"/>
          </a:solidFill>
          <a:latin typeface="+mn-lt"/>
          <a:ea typeface="+mn-ea"/>
          <a:cs typeface="+mn-cs"/>
        </a:defRPr>
      </a:lvl7pPr>
      <a:lvl8pPr marL="647870" indent="-251950" algn="l" defTabSz="457098" rtl="0" eaLnBrk="1" latinLnBrk="0" hangingPunct="1">
        <a:spcBef>
          <a:spcPts val="0"/>
        </a:spcBef>
        <a:spcAft>
          <a:spcPts val="1200"/>
        </a:spcAft>
        <a:buClr>
          <a:schemeClr val="bg2"/>
        </a:buClr>
        <a:buFont typeface="+mj-lt"/>
        <a:buAutoNum type="arabicPeriod"/>
        <a:defRPr sz="1600" kern="1200" spc="-50">
          <a:solidFill>
            <a:schemeClr val="tx1"/>
          </a:solidFill>
          <a:latin typeface="+mn-lt"/>
          <a:ea typeface="+mn-ea"/>
          <a:cs typeface="+mn-cs"/>
        </a:defRPr>
      </a:lvl8pPr>
      <a:lvl9pPr marL="647870" indent="-251950" algn="l" defTabSz="457098" rtl="0" eaLnBrk="1" latinLnBrk="0" hangingPunct="1">
        <a:spcBef>
          <a:spcPts val="0"/>
        </a:spcBef>
        <a:spcAft>
          <a:spcPts val="1200"/>
        </a:spcAft>
        <a:buClr>
          <a:schemeClr val="bg2"/>
        </a:buClr>
        <a:buFont typeface="+mj-lt"/>
        <a:buAutoNum type="alphaUcPeriod"/>
        <a:defRPr sz="1600" kern="1200" spc="-5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8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94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92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8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86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82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80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77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659">
          <p15:clr>
            <a:srgbClr val="F26B43"/>
          </p15:clr>
        </p15:guide>
        <p15:guide id="2" pos="7173">
          <p15:clr>
            <a:srgbClr val="F26B43"/>
          </p15:clr>
        </p15:guide>
        <p15:guide id="3" orient="horz" pos="1036">
          <p15:clr>
            <a:srgbClr val="F26B43"/>
          </p15:clr>
        </p15:guide>
        <p15:guide id="4" orient="horz" pos="3595">
          <p15:clr>
            <a:srgbClr val="F26B43"/>
          </p15:clr>
        </p15:guide>
        <p15:guide id="5" pos="6146">
          <p15:clr>
            <a:srgbClr val="F26B43"/>
          </p15:clr>
        </p15:guide>
        <p15:guide id="6" pos="5633">
          <p15:clr>
            <a:srgbClr val="F26B43"/>
          </p15:clr>
        </p15:guide>
        <p15:guide id="7" pos="5120">
          <p15:clr>
            <a:srgbClr val="F26B43"/>
          </p15:clr>
        </p15:guide>
        <p15:guide id="8" pos="4607">
          <p15:clr>
            <a:srgbClr val="F26B43"/>
          </p15:clr>
        </p15:guide>
        <p15:guide id="9" pos="4094">
          <p15:clr>
            <a:srgbClr val="F26B43"/>
          </p15:clr>
        </p15:guide>
        <p15:guide id="10" pos="3581">
          <p15:clr>
            <a:srgbClr val="F26B43"/>
          </p15:clr>
        </p15:guide>
        <p15:guide id="11" pos="3068">
          <p15:clr>
            <a:srgbClr val="F26B43"/>
          </p15:clr>
        </p15:guide>
        <p15:guide id="12" pos="2555">
          <p15:clr>
            <a:srgbClr val="F26B43"/>
          </p15:clr>
        </p15:guide>
        <p15:guide id="13" pos="2042">
          <p15:clr>
            <a:srgbClr val="F26B43"/>
          </p15:clr>
        </p15:guide>
        <p15:guide id="14" pos="1529">
          <p15:clr>
            <a:srgbClr val="F26B43"/>
          </p15:clr>
        </p15:guide>
        <p15:guide id="15" pos="1016">
          <p15:clr>
            <a:srgbClr val="F26B43"/>
          </p15:clr>
        </p15:guide>
        <p15:guide id="16" pos="50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885849665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3985" y="327262"/>
            <a:ext cx="11344030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 err="1"/>
              <a:t>Click to edit Master title style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8398" y="64139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6BF5B6-D0F7-434D-A1B9-4D7DD45ED8EB}" type="datetime1">
              <a:t>30.11.2023</a:t>
            </a:fld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49202" y="6413952"/>
            <a:ext cx="3030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23985" y="1628775"/>
            <a:ext cx="11344031" cy="44640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665144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38" r:id="rId2"/>
    <p:sldLayoutId id="2147483939" r:id="rId3"/>
    <p:sldLayoutId id="2147483940" r:id="rId4"/>
    <p:sldLayoutId id="2147483941" r:id="rId5"/>
    <p:sldLayoutId id="2147483942" r:id="rId6"/>
    <p:sldLayoutId id="2147483943" r:id="rId7"/>
    <p:sldLayoutId id="2147483944" r:id="rId8"/>
    <p:sldLayoutId id="2147483945" r:id="rId9"/>
    <p:sldLayoutId id="2147483946" r:id="rId10"/>
    <p:sldLayoutId id="2147483947" r:id="rId11"/>
    <p:sldLayoutId id="2147483948" r:id="rId12"/>
    <p:sldLayoutId id="2147483949" r:id="rId13"/>
    <p:sldLayoutId id="2147483950" r:id="rId14"/>
    <p:sldLayoutId id="2147483951" r:id="rId15"/>
    <p:sldLayoutId id="2147483952" r:id="rId16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rgbClr val="3A7EC0"/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1400" b="0" kern="1200">
          <a:solidFill>
            <a:schemeClr val="tx1"/>
          </a:solidFill>
          <a:latin typeface="Arial"/>
          <a:ea typeface="+mn-ea"/>
          <a:cs typeface="Arial"/>
        </a:defRPr>
      </a:lvl1pPr>
      <a:lvl2pPr marL="285750" indent="-285750" algn="l" defTabSz="457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Arial"/>
          <a:ea typeface="+mn-ea"/>
          <a:cs typeface="Arial"/>
        </a:defRPr>
      </a:lvl2pPr>
      <a:lvl3pPr marL="465137" indent="-285750" algn="l" defTabSz="457200" rtl="0" eaLnBrk="1" latinLnBrk="0" hangingPunct="1">
        <a:spcBef>
          <a:spcPct val="20000"/>
        </a:spcBef>
        <a:buFont typeface="Arial" panose="020B0604020202020204" pitchFamily="34" charset="0"/>
        <a:buChar char="-"/>
        <a:defRPr sz="1400" b="0" kern="1200">
          <a:solidFill>
            <a:schemeClr val="tx1"/>
          </a:solidFill>
          <a:latin typeface="Arial"/>
          <a:ea typeface="+mn-ea"/>
          <a:cs typeface="Arial"/>
        </a:defRPr>
      </a:lvl3pPr>
      <a:lvl4pPr marL="712788" indent="-266700" algn="l" defTabSz="457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Arial"/>
          <a:ea typeface="+mn-ea"/>
          <a:cs typeface="Arial"/>
        </a:defRPr>
      </a:lvl4pPr>
      <a:lvl5pPr marL="989013" indent="-276225" algn="l" defTabSz="457200" rtl="0" eaLnBrk="1" latinLnBrk="0" hangingPunct="1">
        <a:spcBef>
          <a:spcPct val="20000"/>
        </a:spcBef>
        <a:buFont typeface="Arial"/>
        <a:buChar char="»"/>
        <a:defRPr sz="1400" b="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120">
          <p15:clr>
            <a:srgbClr val="F26B43"/>
          </p15:clr>
        </p15:guide>
        <p15:guide id="3" pos="126">
          <p15:clr>
            <a:srgbClr val="F26B43"/>
          </p15:clr>
        </p15:guide>
        <p15:guide id="4" pos="6114">
          <p15:clr>
            <a:srgbClr val="F26B43"/>
          </p15:clr>
        </p15:guide>
        <p15:guide id="5" orient="horz" pos="119">
          <p15:clr>
            <a:srgbClr val="F26B43"/>
          </p15:clr>
        </p15:guide>
        <p15:guide id="6" orient="horz" pos="4065">
          <p15:clr>
            <a:srgbClr val="F26B43"/>
          </p15:clr>
        </p15:guide>
        <p15:guide id="7" orient="horz" pos="1026">
          <p15:clr>
            <a:srgbClr val="F26B43"/>
          </p15:clr>
        </p15:guide>
        <p15:guide id="8" orient="horz" pos="3838">
          <p15:clr>
            <a:srgbClr val="F26B43"/>
          </p15:clr>
        </p15:guide>
        <p15:guide id="9" orient="horz" pos="210">
          <p15:clr>
            <a:srgbClr val="F26B43"/>
          </p15:clr>
        </p15:guide>
        <p15:guide id="10" pos="217">
          <p15:clr>
            <a:srgbClr val="F26B43"/>
          </p15:clr>
        </p15:guide>
        <p15:guide id="11" pos="6023">
          <p15:clr>
            <a:srgbClr val="F26B43"/>
          </p15:clr>
        </p15:guide>
        <p15:guide id="12" orient="horz" pos="4201">
          <p15:clr>
            <a:srgbClr val="F26B43"/>
          </p15:clr>
        </p15:guide>
        <p15:guide id="13" pos="2984">
          <p15:clr>
            <a:srgbClr val="F26B43"/>
          </p15:clr>
        </p15:guide>
        <p15:guide id="14" pos="3256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180620856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3985" y="327262"/>
            <a:ext cx="11344030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itle</a:t>
            </a:r>
            <a:r>
              <a:rPr lang="nb-NO" dirty="0"/>
              <a:t>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8398" y="64139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6BF5B6-D0F7-434D-A1B9-4D7DD45ED8EB}" type="datetime1">
              <a:t>30.11.2023</a:t>
            </a:fld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49202" y="6413952"/>
            <a:ext cx="3030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23985" y="1628775"/>
            <a:ext cx="11344031" cy="44640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15593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4" r:id="rId1"/>
    <p:sldLayoutId id="2147483955" r:id="rId2"/>
    <p:sldLayoutId id="2147483956" r:id="rId3"/>
    <p:sldLayoutId id="2147483957" r:id="rId4"/>
    <p:sldLayoutId id="2147483958" r:id="rId5"/>
    <p:sldLayoutId id="2147483959" r:id="rId6"/>
    <p:sldLayoutId id="2147483960" r:id="rId7"/>
    <p:sldLayoutId id="2147483961" r:id="rId8"/>
    <p:sldLayoutId id="2147483962" r:id="rId9"/>
    <p:sldLayoutId id="2147483963" r:id="rId10"/>
    <p:sldLayoutId id="2147483964" r:id="rId11"/>
    <p:sldLayoutId id="2147483965" r:id="rId12"/>
    <p:sldLayoutId id="2147483966" r:id="rId13"/>
    <p:sldLayoutId id="2147483967" r:id="rId14"/>
    <p:sldLayoutId id="2147483969" r:id="rId15"/>
    <p:sldLayoutId id="2147483970" r:id="rId16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rgbClr val="3A7EC0"/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1400" b="0" kern="1200">
          <a:solidFill>
            <a:schemeClr val="tx1"/>
          </a:solidFill>
          <a:latin typeface="Arial"/>
          <a:ea typeface="+mn-ea"/>
          <a:cs typeface="Arial"/>
        </a:defRPr>
      </a:lvl1pPr>
      <a:lvl2pPr marL="285750" indent="-285750" algn="l" defTabSz="457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Arial"/>
          <a:ea typeface="+mn-ea"/>
          <a:cs typeface="Arial"/>
        </a:defRPr>
      </a:lvl2pPr>
      <a:lvl3pPr marL="465137" indent="-285750" algn="l" defTabSz="457200" rtl="0" eaLnBrk="1" latinLnBrk="0" hangingPunct="1">
        <a:spcBef>
          <a:spcPct val="20000"/>
        </a:spcBef>
        <a:buFont typeface="Arial" panose="020B0604020202020204" pitchFamily="34" charset="0"/>
        <a:buChar char="-"/>
        <a:defRPr sz="1400" b="0" kern="1200">
          <a:solidFill>
            <a:schemeClr val="tx1"/>
          </a:solidFill>
          <a:latin typeface="Arial"/>
          <a:ea typeface="+mn-ea"/>
          <a:cs typeface="Arial"/>
        </a:defRPr>
      </a:lvl3pPr>
      <a:lvl4pPr marL="712788" indent="-266700" algn="l" defTabSz="457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Arial"/>
          <a:ea typeface="+mn-ea"/>
          <a:cs typeface="Arial"/>
        </a:defRPr>
      </a:lvl4pPr>
      <a:lvl5pPr marL="989013" indent="-276225" algn="l" defTabSz="457200" rtl="0" eaLnBrk="1" latinLnBrk="0" hangingPunct="1">
        <a:spcBef>
          <a:spcPct val="20000"/>
        </a:spcBef>
        <a:buFont typeface="Arial"/>
        <a:buChar char="»"/>
        <a:defRPr sz="1400" b="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120">
          <p15:clr>
            <a:srgbClr val="F26B43"/>
          </p15:clr>
        </p15:guide>
        <p15:guide id="3" pos="126">
          <p15:clr>
            <a:srgbClr val="F26B43"/>
          </p15:clr>
        </p15:guide>
        <p15:guide id="4" pos="6114">
          <p15:clr>
            <a:srgbClr val="F26B43"/>
          </p15:clr>
        </p15:guide>
        <p15:guide id="5" orient="horz" pos="119">
          <p15:clr>
            <a:srgbClr val="F26B43"/>
          </p15:clr>
        </p15:guide>
        <p15:guide id="6" orient="horz" pos="4065">
          <p15:clr>
            <a:srgbClr val="F26B43"/>
          </p15:clr>
        </p15:guide>
        <p15:guide id="7" orient="horz" pos="1026">
          <p15:clr>
            <a:srgbClr val="F26B43"/>
          </p15:clr>
        </p15:guide>
        <p15:guide id="8" orient="horz" pos="3838">
          <p15:clr>
            <a:srgbClr val="F26B43"/>
          </p15:clr>
        </p15:guide>
        <p15:guide id="9" orient="horz" pos="210">
          <p15:clr>
            <a:srgbClr val="F26B43"/>
          </p15:clr>
        </p15:guide>
        <p15:guide id="10" pos="217">
          <p15:clr>
            <a:srgbClr val="F26B43"/>
          </p15:clr>
        </p15:guide>
        <p15:guide id="11" pos="6023">
          <p15:clr>
            <a:srgbClr val="F26B43"/>
          </p15:clr>
        </p15:guide>
        <p15:guide id="12" orient="horz" pos="4201">
          <p15:clr>
            <a:srgbClr val="F26B43"/>
          </p15:clr>
        </p15:guide>
        <p15:guide id="13" pos="2984">
          <p15:clr>
            <a:srgbClr val="F26B43"/>
          </p15:clr>
        </p15:guide>
        <p15:guide id="14" pos="32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6.xml"/><Relationship Id="rId4" Type="http://schemas.microsoft.com/office/2007/relationships/hdphoto" Target="../media/hdphoto1.wdp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12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41774" y="2620264"/>
            <a:ext cx="8259538" cy="1914146"/>
          </a:xfrm>
        </p:spPr>
        <p:txBody>
          <a:bodyPr/>
          <a:lstStyle/>
          <a:p>
            <a:r>
              <a:rPr lang="nb-NO" sz="4400" dirty="0"/>
              <a:t>Prosjektpresentasjon</a:t>
            </a:r>
          </a:p>
        </p:txBody>
      </p:sp>
    </p:spTree>
    <p:extLst>
      <p:ext uri="{BB962C8B-B14F-4D97-AF65-F5344CB8AC3E}">
        <p14:creationId xmlns:p14="http://schemas.microsoft.com/office/powerpoint/2010/main" val="23379540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kstSylinder 5"/>
          <p:cNvSpPr txBox="1"/>
          <p:nvPr/>
        </p:nvSpPr>
        <p:spPr>
          <a:xfrm>
            <a:off x="657043" y="1894257"/>
            <a:ext cx="654884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nb-NO" dirty="0"/>
              <a:t>Utfordringsbildet</a:t>
            </a:r>
          </a:p>
          <a:p>
            <a:pPr marL="342900" indent="-342900">
              <a:buFont typeface="+mj-lt"/>
              <a:buAutoNum type="arabicPeriod"/>
            </a:pPr>
            <a:r>
              <a:rPr lang="nb-NO" b="1" dirty="0"/>
              <a:t>Mål for prosjektet</a:t>
            </a:r>
          </a:p>
          <a:p>
            <a:pPr marL="342900" indent="-342900">
              <a:buFont typeface="+mj-lt"/>
              <a:buAutoNum type="arabicPeriod"/>
            </a:pPr>
            <a:r>
              <a:rPr lang="nb-NO" dirty="0"/>
              <a:t>Prosjektplan</a:t>
            </a:r>
          </a:p>
          <a:p>
            <a:pPr marL="342900" indent="-342900">
              <a:buFont typeface="+mj-lt"/>
              <a:buAutoNum type="arabicPeriod"/>
            </a:pPr>
            <a:r>
              <a:rPr lang="nb-NO" dirty="0"/>
              <a:t>Neste steg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E03C9D31-3B53-6BC9-5CF3-A957B3C25F44}"/>
              </a:ext>
            </a:extLst>
          </p:cNvPr>
          <p:cNvSpPr txBox="1"/>
          <p:nvPr/>
        </p:nvSpPr>
        <p:spPr>
          <a:xfrm>
            <a:off x="792481" y="374469"/>
            <a:ext cx="65488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200"/>
              <a:t>Agenda</a:t>
            </a:r>
            <a:endParaRPr lang="nb-NO" sz="3200" dirty="0"/>
          </a:p>
        </p:txBody>
      </p:sp>
      <p:pic>
        <p:nvPicPr>
          <p:cNvPr id="4" name="Bilde 3" descr="Et bilde som inneholder sketch, tegning, kunst, design&#10;&#10;Automatisk generert beskrivelse">
            <a:extLst>
              <a:ext uri="{FF2B5EF4-FFF2-40B4-BE49-F238E27FC236}">
                <a16:creationId xmlns:a16="http://schemas.microsoft.com/office/drawing/2014/main" id="{1678C338-4B2D-87EE-DDD3-53781E39C8B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8960"/>
          <a:stretch/>
        </p:blipFill>
        <p:spPr>
          <a:xfrm>
            <a:off x="8597176" y="1485683"/>
            <a:ext cx="2156549" cy="1905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2297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kstSylinder 5"/>
          <p:cNvSpPr txBox="1"/>
          <p:nvPr/>
        </p:nvSpPr>
        <p:spPr>
          <a:xfrm>
            <a:off x="657043" y="1894257"/>
            <a:ext cx="654884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nb-NO" sz="1800" dirty="0"/>
              <a:t>[Legg inn de 3-5 viktigste mål for innovasjonsprosjektet i prioritert rekkefølge. Skal prosjektet skape økt mestring og trygghet for den enkelte? Skal prosjektet </a:t>
            </a:r>
            <a:r>
              <a:rPr lang="nb-NO" dirty="0"/>
              <a:t>forebygge kriminalitet eller redusere ensomhet hos innbyggerne</a:t>
            </a:r>
            <a:r>
              <a:rPr lang="nb-NO" sz="1800" dirty="0"/>
              <a:t>? Skal prosjektet medføre mer effektive prosesser i kommunen?]</a:t>
            </a:r>
          </a:p>
          <a:p>
            <a:pPr marL="342900" indent="-342900">
              <a:buFont typeface="+mj-lt"/>
              <a:buAutoNum type="arabicPeriod"/>
            </a:pPr>
            <a:endParaRPr lang="nb-NO" sz="1800" dirty="0"/>
          </a:p>
          <a:p>
            <a:pPr marL="342900" indent="-342900">
              <a:buFont typeface="+mj-lt"/>
              <a:buAutoNum type="arabicPeriod"/>
            </a:pPr>
            <a:r>
              <a:rPr lang="nb-NO" sz="1800" dirty="0" err="1"/>
              <a:t>Xxx</a:t>
            </a:r>
            <a:endParaRPr lang="nb-NO" sz="1800" dirty="0"/>
          </a:p>
          <a:p>
            <a:pPr marL="342900" indent="-342900">
              <a:buFont typeface="+mj-lt"/>
              <a:buAutoNum type="arabicPeriod"/>
            </a:pPr>
            <a:endParaRPr lang="nb-NO" sz="1800" dirty="0"/>
          </a:p>
          <a:p>
            <a:pPr marL="342900" indent="-342900">
              <a:buFont typeface="+mj-lt"/>
              <a:buAutoNum type="arabicPeriod"/>
            </a:pPr>
            <a:r>
              <a:rPr lang="nb-NO" sz="1800" dirty="0" err="1"/>
              <a:t>Xxx</a:t>
            </a:r>
            <a:endParaRPr lang="nb-NO" sz="1800" dirty="0"/>
          </a:p>
          <a:p>
            <a:pPr marL="342900" indent="-342900">
              <a:buFont typeface="+mj-lt"/>
              <a:buAutoNum type="arabicPeriod"/>
            </a:pPr>
            <a:endParaRPr lang="nb-NO" sz="1800" dirty="0"/>
          </a:p>
          <a:p>
            <a:pPr marL="342900" indent="-342900">
              <a:buFont typeface="+mj-lt"/>
              <a:buAutoNum type="arabicPeriod"/>
            </a:pPr>
            <a:r>
              <a:rPr lang="nb-NO" sz="1800" dirty="0" err="1"/>
              <a:t>Xxx</a:t>
            </a:r>
            <a:endParaRPr lang="nb-NO" sz="1800" dirty="0"/>
          </a:p>
          <a:p>
            <a:pPr marL="342900" indent="-342900">
              <a:buFont typeface="+mj-lt"/>
              <a:buAutoNum type="arabicPeriod"/>
            </a:pPr>
            <a:endParaRPr lang="nb-NO" sz="1800" dirty="0"/>
          </a:p>
          <a:p>
            <a:pPr marL="342900" indent="-342900">
              <a:buFont typeface="+mj-lt"/>
              <a:buAutoNum type="arabicPeriod"/>
            </a:pPr>
            <a:r>
              <a:rPr lang="nb-NO" sz="1800" dirty="0" err="1"/>
              <a:t>Xxx</a:t>
            </a:r>
            <a:endParaRPr lang="nb-NO" sz="1800" dirty="0"/>
          </a:p>
          <a:p>
            <a:pPr marL="342900" indent="-342900">
              <a:buFont typeface="+mj-lt"/>
              <a:buAutoNum type="arabicPeriod"/>
            </a:pPr>
            <a:endParaRPr lang="nb-NO" dirty="0"/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E03C9D31-3B53-6BC9-5CF3-A957B3C25F44}"/>
              </a:ext>
            </a:extLst>
          </p:cNvPr>
          <p:cNvSpPr txBox="1"/>
          <p:nvPr/>
        </p:nvSpPr>
        <p:spPr>
          <a:xfrm>
            <a:off x="792481" y="374469"/>
            <a:ext cx="65488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200" dirty="0"/>
              <a:t>Mål for prosjektet </a:t>
            </a:r>
          </a:p>
        </p:txBody>
      </p:sp>
      <p:pic>
        <p:nvPicPr>
          <p:cNvPr id="4" name="Bilde 3" descr="Et bilde som inneholder sketch, tegning, kunst, design&#10;&#10;Automatisk generert beskrivelse">
            <a:extLst>
              <a:ext uri="{FF2B5EF4-FFF2-40B4-BE49-F238E27FC236}">
                <a16:creationId xmlns:a16="http://schemas.microsoft.com/office/drawing/2014/main" id="{1678C338-4B2D-87EE-DDD3-53781E39C8B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8960"/>
          <a:stretch/>
        </p:blipFill>
        <p:spPr>
          <a:xfrm>
            <a:off x="8597176" y="1485683"/>
            <a:ext cx="2156549" cy="1905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8824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kstSylinder 5"/>
          <p:cNvSpPr txBox="1"/>
          <p:nvPr/>
        </p:nvSpPr>
        <p:spPr>
          <a:xfrm>
            <a:off x="657043" y="1894257"/>
            <a:ext cx="654884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nb-NO" dirty="0"/>
              <a:t>Utfordringsbildet</a:t>
            </a:r>
          </a:p>
          <a:p>
            <a:pPr marL="342900" indent="-342900">
              <a:buFont typeface="+mj-lt"/>
              <a:buAutoNum type="arabicPeriod"/>
            </a:pPr>
            <a:r>
              <a:rPr lang="nb-NO" dirty="0"/>
              <a:t>Mål for prosjektet</a:t>
            </a:r>
          </a:p>
          <a:p>
            <a:pPr marL="342900" indent="-342900">
              <a:buFont typeface="+mj-lt"/>
              <a:buAutoNum type="arabicPeriod"/>
            </a:pPr>
            <a:r>
              <a:rPr lang="nb-NO" b="1" dirty="0"/>
              <a:t>Prosjektplan</a:t>
            </a:r>
          </a:p>
          <a:p>
            <a:pPr marL="342900" indent="-342900">
              <a:buFont typeface="+mj-lt"/>
              <a:buAutoNum type="arabicPeriod"/>
            </a:pPr>
            <a:r>
              <a:rPr lang="nb-NO" dirty="0"/>
              <a:t>Neste steg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E03C9D31-3B53-6BC9-5CF3-A957B3C25F44}"/>
              </a:ext>
            </a:extLst>
          </p:cNvPr>
          <p:cNvSpPr txBox="1"/>
          <p:nvPr/>
        </p:nvSpPr>
        <p:spPr>
          <a:xfrm>
            <a:off x="792481" y="374469"/>
            <a:ext cx="65488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200"/>
              <a:t>Agenda</a:t>
            </a:r>
            <a:endParaRPr lang="nb-NO" sz="3200" dirty="0"/>
          </a:p>
        </p:txBody>
      </p:sp>
      <p:pic>
        <p:nvPicPr>
          <p:cNvPr id="4" name="Bilde 3" descr="Et bilde som inneholder sketch, tegning, kunst, design&#10;&#10;Automatisk generert beskrivelse">
            <a:extLst>
              <a:ext uri="{FF2B5EF4-FFF2-40B4-BE49-F238E27FC236}">
                <a16:creationId xmlns:a16="http://schemas.microsoft.com/office/drawing/2014/main" id="{1678C338-4B2D-87EE-DDD3-53781E39C8B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8960"/>
          <a:stretch/>
        </p:blipFill>
        <p:spPr>
          <a:xfrm>
            <a:off x="8597176" y="1485683"/>
            <a:ext cx="2156549" cy="1905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0728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Sylinder 2">
            <a:extLst>
              <a:ext uri="{FF2B5EF4-FFF2-40B4-BE49-F238E27FC236}">
                <a16:creationId xmlns:a16="http://schemas.microsoft.com/office/drawing/2014/main" id="{E03C9D31-3B53-6BC9-5CF3-A957B3C25F44}"/>
              </a:ext>
            </a:extLst>
          </p:cNvPr>
          <p:cNvSpPr txBox="1"/>
          <p:nvPr/>
        </p:nvSpPr>
        <p:spPr>
          <a:xfrm>
            <a:off x="609600" y="731276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nb-NO" sz="2800" kern="1200">
                <a:solidFill>
                  <a:srgbClr val="001A58"/>
                </a:solidFill>
                <a:latin typeface="+mj-lt"/>
                <a:ea typeface="+mj-ea"/>
                <a:cs typeface="+mj-cs"/>
              </a:rPr>
              <a:t>Tilnærming til prosjektet </a:t>
            </a:r>
          </a:p>
        </p:txBody>
      </p:sp>
      <p:sp>
        <p:nvSpPr>
          <p:cNvPr id="6" name="TekstSylinder 5"/>
          <p:cNvSpPr txBox="1"/>
          <p:nvPr/>
        </p:nvSpPr>
        <p:spPr>
          <a:xfrm>
            <a:off x="609600" y="1967113"/>
            <a:ext cx="5384800" cy="36883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>
              <a:spcBef>
                <a:spcPct val="20000"/>
              </a:spcBef>
              <a:buFont typeface="Arial"/>
            </a:pPr>
            <a:r>
              <a:rPr lang="nb-NO" sz="2000" dirty="0">
                <a:solidFill>
                  <a:srgbClr val="001A58"/>
                </a:solidFill>
              </a:rPr>
              <a:t>[Oppsummer deres tilnærming til gjennomføring av prosjektet. Skriv korte kulepunkter. </a:t>
            </a:r>
          </a:p>
        </p:txBody>
      </p:sp>
      <p:pic>
        <p:nvPicPr>
          <p:cNvPr id="2" name="Picture 8" descr="Screen Shot 2014-05-16 at 15.59.33 .png">
            <a:extLst>
              <a:ext uri="{FF2B5EF4-FFF2-40B4-BE49-F238E27FC236}">
                <a16:creationId xmlns:a16="http://schemas.microsoft.com/office/drawing/2014/main" id="{CD7892FE-ACBC-AD48-FB4C-690618341CA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8976"/>
          <a:stretch/>
        </p:blipFill>
        <p:spPr>
          <a:xfrm>
            <a:off x="7617840" y="1967113"/>
            <a:ext cx="3600000" cy="246583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851960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l 1">
            <a:extLst>
              <a:ext uri="{FF2B5EF4-FFF2-40B4-BE49-F238E27FC236}">
                <a16:creationId xmlns:a16="http://schemas.microsoft.com/office/drawing/2014/main" id="{4748A7D0-3251-67F8-939E-B4CBAFF667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9901183"/>
              </p:ext>
            </p:extLst>
          </p:nvPr>
        </p:nvGraphicFramePr>
        <p:xfrm>
          <a:off x="1524001" y="1018903"/>
          <a:ext cx="8612774" cy="4850680"/>
        </p:xfrm>
        <a:graphic>
          <a:graphicData uri="http://schemas.openxmlformats.org/drawingml/2006/table">
            <a:tbl>
              <a:tblPr/>
              <a:tblGrid>
                <a:gridCol w="1321278">
                  <a:extLst>
                    <a:ext uri="{9D8B030D-6E8A-4147-A177-3AD203B41FA5}">
                      <a16:colId xmlns:a16="http://schemas.microsoft.com/office/drawing/2014/main" val="1780747389"/>
                    </a:ext>
                  </a:extLst>
                </a:gridCol>
                <a:gridCol w="2456599">
                  <a:extLst>
                    <a:ext uri="{9D8B030D-6E8A-4147-A177-3AD203B41FA5}">
                      <a16:colId xmlns:a16="http://schemas.microsoft.com/office/drawing/2014/main" val="623424531"/>
                    </a:ext>
                  </a:extLst>
                </a:gridCol>
                <a:gridCol w="822128">
                  <a:extLst>
                    <a:ext uri="{9D8B030D-6E8A-4147-A177-3AD203B41FA5}">
                      <a16:colId xmlns:a16="http://schemas.microsoft.com/office/drawing/2014/main" val="1951035940"/>
                    </a:ext>
                  </a:extLst>
                </a:gridCol>
                <a:gridCol w="146808">
                  <a:extLst>
                    <a:ext uri="{9D8B030D-6E8A-4147-A177-3AD203B41FA5}">
                      <a16:colId xmlns:a16="http://schemas.microsoft.com/office/drawing/2014/main" val="259065756"/>
                    </a:ext>
                  </a:extLst>
                </a:gridCol>
                <a:gridCol w="822128">
                  <a:extLst>
                    <a:ext uri="{9D8B030D-6E8A-4147-A177-3AD203B41FA5}">
                      <a16:colId xmlns:a16="http://schemas.microsoft.com/office/drawing/2014/main" val="995661138"/>
                    </a:ext>
                  </a:extLst>
                </a:gridCol>
                <a:gridCol w="146808">
                  <a:extLst>
                    <a:ext uri="{9D8B030D-6E8A-4147-A177-3AD203B41FA5}">
                      <a16:colId xmlns:a16="http://schemas.microsoft.com/office/drawing/2014/main" val="1782293277"/>
                    </a:ext>
                  </a:extLst>
                </a:gridCol>
                <a:gridCol w="2897025">
                  <a:extLst>
                    <a:ext uri="{9D8B030D-6E8A-4147-A177-3AD203B41FA5}">
                      <a16:colId xmlns:a16="http://schemas.microsoft.com/office/drawing/2014/main" val="3144274503"/>
                    </a:ext>
                  </a:extLst>
                </a:gridCol>
              </a:tblGrid>
              <a:tr h="311851">
                <a:tc gridSpan="7">
                  <a:txBody>
                    <a:bodyPr/>
                    <a:lstStyle/>
                    <a:p>
                      <a:pPr algn="ctr" fontAlgn="t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0E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6032508"/>
                  </a:ext>
                </a:extLst>
              </a:tr>
              <a:tr h="131671"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0273670"/>
                  </a:ext>
                </a:extLst>
              </a:tr>
              <a:tr h="235621">
                <a:tc gridSpan="2">
                  <a:txBody>
                    <a:bodyPr/>
                    <a:lstStyle/>
                    <a:p>
                      <a:pPr algn="l" fontAlgn="t"/>
                      <a:r>
                        <a:rPr lang="nb-NO" sz="1100" b="0" i="0" u="none" strike="noStrike">
                          <a:solidFill>
                            <a:srgbClr val="3A7EC0"/>
                          </a:solidFill>
                          <a:effectLst/>
                          <a:latin typeface="Arial" panose="020B0604020202020204" pitchFamily="34" charset="0"/>
                        </a:rPr>
                        <a:t>Interessentanalyse</a:t>
                      </a:r>
                    </a:p>
                  </a:txBody>
                  <a:tcPr marL="61074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9324912"/>
                  </a:ext>
                </a:extLst>
              </a:tr>
              <a:tr h="193691">
                <a:tc>
                  <a:txBody>
                    <a:bodyPr/>
                    <a:lstStyle/>
                    <a:p>
                      <a:pPr algn="l" fontAlgn="t"/>
                      <a:endParaRPr lang="nb-NO" sz="9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5185434"/>
                  </a:ext>
                </a:extLst>
              </a:tr>
              <a:tr h="138601">
                <a:tc>
                  <a:txBody>
                    <a:bodyPr/>
                    <a:lstStyle/>
                    <a:p>
                      <a:pPr algn="ctr" fontAlgn="b"/>
                      <a:r>
                        <a:rPr lang="nb-NO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essent</a:t>
                      </a:r>
                    </a:p>
                  </a:txBody>
                  <a:tcPr marL="5090" marR="5090" marT="509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575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vordan berøres av / påvirker endringen</a:t>
                      </a:r>
                    </a:p>
                  </a:txBody>
                  <a:tcPr marL="5090" marR="5090" marT="509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575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nflytelse</a:t>
                      </a:r>
                    </a:p>
                  </a:txBody>
                  <a:tcPr marL="5090" marR="5090" marT="509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575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575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oldning</a:t>
                      </a:r>
                    </a:p>
                  </a:txBody>
                  <a:tcPr marL="5090" marR="5090" marT="509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575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575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ategi for involvering, dialog og opplæring</a:t>
                      </a:r>
                    </a:p>
                  </a:txBody>
                  <a:tcPr marL="5090" marR="5090" marT="509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575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4256347"/>
                  </a:ext>
                </a:extLst>
              </a:tr>
              <a:tr h="790023"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 dirty="0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[Definer berørt part, som f.eks. rektorer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 dirty="0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[Definer hvordan interessenten berøres av endringen, som f.eks. "Får et nytt arbeidsverktøy" og/eller hvordan interessenten påvirker endringen, 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Høy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Nøytral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[Definer hvor mye interessenten skal involveres i prosjektet og beskriv kort hvordan dette skal gjøres. F.eks. "Involveres aktivt i prosjektet - inviteres til alle arbeidsmøter med prosjektgruppen" osv.]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4722222"/>
                  </a:ext>
                </a:extLst>
              </a:tr>
              <a:tr h="2772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 dirty="0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Positiv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#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6521023"/>
                  </a:ext>
                </a:extLst>
              </a:tr>
              <a:tr h="2772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Lav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Negativ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#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0318220"/>
                  </a:ext>
                </a:extLst>
              </a:tr>
              <a:tr h="2772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4113122"/>
                  </a:ext>
                </a:extLst>
              </a:tr>
              <a:tr h="2772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1304186"/>
                  </a:ext>
                </a:extLst>
              </a:tr>
              <a:tr h="2772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0456204"/>
                  </a:ext>
                </a:extLst>
              </a:tr>
              <a:tr h="2772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820849"/>
                  </a:ext>
                </a:extLst>
              </a:tr>
              <a:tr h="2772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0008001"/>
                  </a:ext>
                </a:extLst>
              </a:tr>
              <a:tr h="2772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050785"/>
                  </a:ext>
                </a:extLst>
              </a:tr>
              <a:tr h="2772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 dirty="0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771817"/>
                  </a:ext>
                </a:extLst>
              </a:tr>
              <a:tr h="2772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2276484"/>
                  </a:ext>
                </a:extLst>
              </a:tr>
              <a:tr h="2772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 dirty="0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299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564373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vhengigheter til nasjonale, regionale og lokale prosjekter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[Legg inn de viktigste lokale, regionale og statlige prosjekter som har påvirkning på deres prosjekt. Bruk et kulepunkt per prosjekt. Oppgi navn på prosjektet og aktøren som gjennomfører prosjekte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err="1"/>
              <a:t>Xxx</a:t>
            </a: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err="1"/>
              <a:t>Xxx</a:t>
            </a: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err="1"/>
              <a:t>Xxx</a:t>
            </a: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err="1"/>
              <a:t>Xxx</a:t>
            </a:r>
            <a:endParaRPr lang="nb-NO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271464" y="6526438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>
                <a:solidFill>
                  <a:prstClr val="black">
                    <a:tint val="75000"/>
                  </a:prstClr>
                </a:solidFill>
                <a:latin typeface="Arial"/>
              </a:rPr>
              <a:pPr/>
              <a:t>15</a:t>
            </a:fld>
            <a:endParaRPr lang="nb-NO" dirty="0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1352550" y="943271"/>
            <a:ext cx="9503023" cy="294191"/>
          </a:xfrm>
        </p:spPr>
        <p:txBody>
          <a:bodyPr/>
          <a:lstStyle/>
          <a:p>
            <a:r>
              <a:rPr lang="nb-NO" dirty="0"/>
              <a:t>[Evt. legg inn et undertittel]</a:t>
            </a:r>
          </a:p>
        </p:txBody>
      </p:sp>
    </p:spTree>
    <p:extLst>
      <p:ext uri="{BB962C8B-B14F-4D97-AF65-F5344CB8AC3E}">
        <p14:creationId xmlns:p14="http://schemas.microsoft.com/office/powerpoint/2010/main" val="201242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kstSylinder 5"/>
          <p:cNvSpPr txBox="1"/>
          <p:nvPr/>
        </p:nvSpPr>
        <p:spPr>
          <a:xfrm>
            <a:off x="657043" y="1894257"/>
            <a:ext cx="654884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tfordringsbildet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nb-NO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ål for prosjektet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sjektplan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ste steg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E03C9D31-3B53-6BC9-5CF3-A957B3C25F44}"/>
              </a:ext>
            </a:extLst>
          </p:cNvPr>
          <p:cNvSpPr txBox="1"/>
          <p:nvPr/>
        </p:nvSpPr>
        <p:spPr>
          <a:xfrm>
            <a:off x="792481" y="374469"/>
            <a:ext cx="65488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genda</a:t>
            </a:r>
            <a:endParaRPr kumimoji="0" lang="nb-NO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Bilde 3" descr="Et bilde som inneholder sketch, tegning, kunst, design&#10;&#10;Automatisk generert beskrivelse">
            <a:extLst>
              <a:ext uri="{FF2B5EF4-FFF2-40B4-BE49-F238E27FC236}">
                <a16:creationId xmlns:a16="http://schemas.microsoft.com/office/drawing/2014/main" id="{1678C338-4B2D-87EE-DDD3-53781E39C8B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8960"/>
          <a:stretch/>
        </p:blipFill>
        <p:spPr>
          <a:xfrm>
            <a:off x="8597176" y="1485683"/>
            <a:ext cx="2156549" cy="1905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479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Sylinder 2">
            <a:extLst>
              <a:ext uri="{FF2B5EF4-FFF2-40B4-BE49-F238E27FC236}">
                <a16:creationId xmlns:a16="http://schemas.microsoft.com/office/drawing/2014/main" id="{E03C9D31-3B53-6BC9-5CF3-A957B3C25F44}"/>
              </a:ext>
            </a:extLst>
          </p:cNvPr>
          <p:cNvSpPr txBox="1"/>
          <p:nvPr/>
        </p:nvSpPr>
        <p:spPr>
          <a:xfrm>
            <a:off x="609600" y="289316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0" i="0" u="none" strike="noStrike" kern="1200" cap="none" spc="0" normalizeH="0" baseline="0" noProof="0" dirty="0">
                <a:ln>
                  <a:noFill/>
                </a:ln>
                <a:solidFill>
                  <a:srgbClr val="001A5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ste steg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dirty="0">
                <a:solidFill>
                  <a:srgbClr val="001A58"/>
                </a:solidFill>
                <a:latin typeface="Calibri"/>
              </a:rPr>
              <a:t>(ev. legg inn undertittel)</a:t>
            </a:r>
            <a:r>
              <a:rPr kumimoji="0" lang="nb-NO" sz="2800" b="0" i="0" u="none" strike="noStrike" kern="1200" cap="none" spc="0" normalizeH="0" baseline="0" noProof="0" dirty="0">
                <a:ln>
                  <a:noFill/>
                </a:ln>
                <a:solidFill>
                  <a:srgbClr val="001A5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6" name="TekstSylinder 5"/>
          <p:cNvSpPr txBox="1"/>
          <p:nvPr/>
        </p:nvSpPr>
        <p:spPr>
          <a:xfrm>
            <a:off x="609600" y="1570873"/>
            <a:ext cx="5384800" cy="36883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[Angi sentrale aktiviteter som gjennomføres før dere går videre i prosjektet. Tilpass denne siden til målgruppen ved å fokusere på aktivitetene som er mest relevante for personene til stedet]</a:t>
            </a:r>
            <a:br>
              <a:rPr lang="nb-NO" sz="1600" dirty="0"/>
            </a:br>
            <a:endParaRPr lang="nb-NO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 err="1"/>
              <a:t>Xxx</a:t>
            </a:r>
            <a:endParaRPr lang="nb-NO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 err="1"/>
              <a:t>Xxx</a:t>
            </a:r>
            <a:endParaRPr lang="nb-NO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 err="1"/>
              <a:t>Xxx</a:t>
            </a:r>
            <a:endParaRPr lang="nb-NO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 err="1"/>
              <a:t>Xxx</a:t>
            </a:r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srgbClr val="001A5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4112F6CF-9C47-DF95-F8FC-FB2B5EE04B85}"/>
              </a:ext>
            </a:extLst>
          </p:cNvPr>
          <p:cNvSpPr txBox="1"/>
          <p:nvPr/>
        </p:nvSpPr>
        <p:spPr>
          <a:xfrm>
            <a:off x="8442960" y="1722120"/>
            <a:ext cx="2392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Legg ev. inn eget bilde</a:t>
            </a:r>
          </a:p>
        </p:txBody>
      </p:sp>
    </p:spTree>
    <p:extLst>
      <p:ext uri="{BB962C8B-B14F-4D97-AF65-F5344CB8AC3E}">
        <p14:creationId xmlns:p14="http://schemas.microsoft.com/office/powerpoint/2010/main" val="26631411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Sylinder 2">
            <a:extLst>
              <a:ext uri="{FF2B5EF4-FFF2-40B4-BE49-F238E27FC236}">
                <a16:creationId xmlns:a16="http://schemas.microsoft.com/office/drawing/2014/main" id="{E03C9D31-3B53-6BC9-5CF3-A957B3C25F44}"/>
              </a:ext>
            </a:extLst>
          </p:cNvPr>
          <p:cNvSpPr txBox="1"/>
          <p:nvPr/>
        </p:nvSpPr>
        <p:spPr>
          <a:xfrm>
            <a:off x="609600" y="289316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3200" dirty="0">
                <a:solidFill>
                  <a:srgbClr val="001A58"/>
                </a:solidFill>
                <a:latin typeface="Calibri"/>
              </a:rPr>
              <a:t>Viktige avklaringer og beslutninger</a:t>
            </a:r>
            <a:endParaRPr kumimoji="0" lang="nb-NO" sz="3200" b="0" i="0" u="none" strike="noStrike" kern="1200" cap="none" spc="0" normalizeH="0" baseline="0" noProof="0" dirty="0">
              <a:ln>
                <a:noFill/>
              </a:ln>
              <a:solidFill>
                <a:srgbClr val="001A5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kstSylinder 5"/>
          <p:cNvSpPr txBox="1"/>
          <p:nvPr/>
        </p:nvSpPr>
        <p:spPr>
          <a:xfrm>
            <a:off x="609600" y="1570873"/>
            <a:ext cx="5384800" cy="36883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[Denne siden brukes i presentasjonen til ledelsen. Beskriv kort behov for ressurser og finansiering og evt. andre avklaringer som ledelsen trenger å ta stilling til]</a:t>
            </a:r>
            <a:br>
              <a:rPr lang="nb-NO" sz="1600" dirty="0"/>
            </a:br>
            <a:endParaRPr lang="nb-NO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 err="1"/>
              <a:t>Xxx</a:t>
            </a:r>
            <a:endParaRPr lang="nb-NO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 err="1"/>
              <a:t>Xxx</a:t>
            </a:r>
            <a:endParaRPr lang="nb-NO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 err="1"/>
              <a:t>Xxx</a:t>
            </a:r>
            <a:endParaRPr lang="nb-NO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 err="1"/>
              <a:t>Xxx</a:t>
            </a:r>
            <a:endParaRPr lang="nb-NO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srgbClr val="001A5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4112F6CF-9C47-DF95-F8FC-FB2B5EE04B85}"/>
              </a:ext>
            </a:extLst>
          </p:cNvPr>
          <p:cNvSpPr txBox="1"/>
          <p:nvPr/>
        </p:nvSpPr>
        <p:spPr>
          <a:xfrm>
            <a:off x="8442960" y="1722120"/>
            <a:ext cx="2392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Legg ev. inn eget bilde</a:t>
            </a:r>
          </a:p>
        </p:txBody>
      </p:sp>
    </p:spTree>
    <p:extLst>
      <p:ext uri="{BB962C8B-B14F-4D97-AF65-F5344CB8AC3E}">
        <p14:creationId xmlns:p14="http://schemas.microsoft.com/office/powerpoint/2010/main" val="24916543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Sylinder 2">
            <a:extLst>
              <a:ext uri="{FF2B5EF4-FFF2-40B4-BE49-F238E27FC236}">
                <a16:creationId xmlns:a16="http://schemas.microsoft.com/office/drawing/2014/main" id="{E03C9D31-3B53-6BC9-5CF3-A957B3C25F44}"/>
              </a:ext>
            </a:extLst>
          </p:cNvPr>
          <p:cNvSpPr txBox="1"/>
          <p:nvPr/>
        </p:nvSpPr>
        <p:spPr>
          <a:xfrm>
            <a:off x="609600" y="731276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nb-NO" sz="2800" kern="1200">
                <a:solidFill>
                  <a:srgbClr val="001A58"/>
                </a:solidFill>
                <a:latin typeface="+mj-lt"/>
                <a:ea typeface="+mj-ea"/>
                <a:cs typeface="+mj-cs"/>
              </a:rPr>
              <a:t>Hva er en prosjektpresentasjon?</a:t>
            </a:r>
          </a:p>
        </p:txBody>
      </p:sp>
      <p:sp>
        <p:nvSpPr>
          <p:cNvPr id="6" name="TekstSylinder 5"/>
          <p:cNvSpPr txBox="1"/>
          <p:nvPr/>
        </p:nvSpPr>
        <p:spPr>
          <a:xfrm>
            <a:off x="609600" y="1967113"/>
            <a:ext cx="8232742" cy="36883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indent="-285750">
              <a:spcBef>
                <a:spcPct val="20000"/>
              </a:spcBef>
              <a:buFont typeface="Arial"/>
              <a:buChar char="•"/>
            </a:pPr>
            <a:r>
              <a:rPr lang="nb-NO" sz="2000" dirty="0">
                <a:solidFill>
                  <a:srgbClr val="001A58"/>
                </a:solidFill>
              </a:rPr>
              <a:t>En prosjektpresentasjon bør forklare utfordringsbildet, beskrive overordnede mål for arbeidet, og vise plan for videre arbeid</a:t>
            </a:r>
          </a:p>
          <a:p>
            <a:pPr marL="285750" indent="-285750">
              <a:spcBef>
                <a:spcPct val="20000"/>
              </a:spcBef>
              <a:buFont typeface="Arial"/>
              <a:buChar char="•"/>
            </a:pPr>
            <a:endParaRPr lang="nb-NO" sz="2000" dirty="0">
              <a:solidFill>
                <a:srgbClr val="001A58"/>
              </a:solidFill>
            </a:endParaRPr>
          </a:p>
          <a:p>
            <a:pPr marL="285750" indent="-285750">
              <a:spcBef>
                <a:spcPct val="20000"/>
              </a:spcBef>
              <a:buFont typeface="Arial"/>
              <a:buChar char="•"/>
            </a:pPr>
            <a:r>
              <a:rPr lang="nb-NO" sz="2000" dirty="0">
                <a:solidFill>
                  <a:srgbClr val="001A58"/>
                </a:solidFill>
              </a:rPr>
              <a:t>Presentasjonen skal brukes som et verktøy for å engasjere og forankre prosjektet blant ledere og ansatte. God forankring er avgjørende for at prosjektet lykkes</a:t>
            </a:r>
          </a:p>
          <a:p>
            <a:pPr marL="285750" indent="-285750">
              <a:spcBef>
                <a:spcPct val="20000"/>
              </a:spcBef>
              <a:buFont typeface="Arial"/>
              <a:buChar char="•"/>
            </a:pPr>
            <a:endParaRPr lang="nb-NO" sz="2000" dirty="0">
              <a:solidFill>
                <a:srgbClr val="001A58"/>
              </a:solidFill>
            </a:endParaRPr>
          </a:p>
          <a:p>
            <a:pPr marL="285750" indent="-285750">
              <a:spcBef>
                <a:spcPct val="20000"/>
              </a:spcBef>
              <a:buFont typeface="Arial"/>
              <a:buChar char="•"/>
            </a:pPr>
            <a:endParaRPr lang="nb-NO" sz="2000" dirty="0">
              <a:solidFill>
                <a:srgbClr val="001A5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33187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Sylinder 2">
            <a:extLst>
              <a:ext uri="{FF2B5EF4-FFF2-40B4-BE49-F238E27FC236}">
                <a16:creationId xmlns:a16="http://schemas.microsoft.com/office/drawing/2014/main" id="{E03C9D31-3B53-6BC9-5CF3-A957B3C25F44}"/>
              </a:ext>
            </a:extLst>
          </p:cNvPr>
          <p:cNvSpPr txBox="1"/>
          <p:nvPr/>
        </p:nvSpPr>
        <p:spPr>
          <a:xfrm>
            <a:off x="609600" y="731276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nb-NO" sz="3200" kern="1200" dirty="0">
                <a:solidFill>
                  <a:srgbClr val="001A58"/>
                </a:solidFill>
                <a:latin typeface="+mj-lt"/>
                <a:ea typeface="+mj-ea"/>
                <a:cs typeface="+mj-cs"/>
              </a:rPr>
              <a:t>(Navn på deres prosjekt)</a:t>
            </a: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78CFE5B8-133A-9AEA-1E63-964805B041F3}"/>
              </a:ext>
            </a:extLst>
          </p:cNvPr>
          <p:cNvSpPr txBox="1"/>
          <p:nvPr/>
        </p:nvSpPr>
        <p:spPr>
          <a:xfrm>
            <a:off x="609600" y="1967113"/>
            <a:ext cx="5384800" cy="36883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>
              <a:spcBef>
                <a:spcPct val="20000"/>
              </a:spcBef>
              <a:buFont typeface="Arial"/>
            </a:pPr>
            <a:r>
              <a:rPr lang="nb-NO" sz="2400" dirty="0">
                <a:solidFill>
                  <a:srgbClr val="001A58"/>
                </a:solidFill>
              </a:rPr>
              <a:t>(Navn på personen som presenterer)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6AF238B6-F273-3B7E-FFBE-84962E3E79D9}"/>
              </a:ext>
            </a:extLst>
          </p:cNvPr>
          <p:cNvSpPr txBox="1"/>
          <p:nvPr/>
        </p:nvSpPr>
        <p:spPr>
          <a:xfrm>
            <a:off x="8239027" y="1800520"/>
            <a:ext cx="27809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Sett ev. inn et bilde</a:t>
            </a:r>
          </a:p>
        </p:txBody>
      </p:sp>
    </p:spTree>
    <p:extLst>
      <p:ext uri="{BB962C8B-B14F-4D97-AF65-F5344CB8AC3E}">
        <p14:creationId xmlns:p14="http://schemas.microsoft.com/office/powerpoint/2010/main" val="19423234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kstSylinder 5"/>
          <p:cNvSpPr txBox="1"/>
          <p:nvPr/>
        </p:nvSpPr>
        <p:spPr>
          <a:xfrm>
            <a:off x="657043" y="1894257"/>
            <a:ext cx="654884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nb-NO" b="1" dirty="0"/>
              <a:t>Utfordringsbildet</a:t>
            </a:r>
          </a:p>
          <a:p>
            <a:pPr marL="342900" indent="-342900">
              <a:buFont typeface="+mj-lt"/>
              <a:buAutoNum type="arabicPeriod"/>
            </a:pPr>
            <a:r>
              <a:rPr lang="nb-NO" dirty="0"/>
              <a:t>Mål for prosjektet</a:t>
            </a:r>
          </a:p>
          <a:p>
            <a:pPr marL="342900" indent="-342900">
              <a:buFont typeface="+mj-lt"/>
              <a:buAutoNum type="arabicPeriod"/>
            </a:pPr>
            <a:r>
              <a:rPr lang="nb-NO" dirty="0"/>
              <a:t>Prosjektplan</a:t>
            </a:r>
          </a:p>
          <a:p>
            <a:pPr marL="342900" indent="-342900">
              <a:buFont typeface="+mj-lt"/>
              <a:buAutoNum type="arabicPeriod"/>
            </a:pPr>
            <a:r>
              <a:rPr lang="nb-NO" dirty="0"/>
              <a:t>Neste steg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E03C9D31-3B53-6BC9-5CF3-A957B3C25F44}"/>
              </a:ext>
            </a:extLst>
          </p:cNvPr>
          <p:cNvSpPr txBox="1"/>
          <p:nvPr/>
        </p:nvSpPr>
        <p:spPr>
          <a:xfrm>
            <a:off x="792481" y="374469"/>
            <a:ext cx="65488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200"/>
              <a:t>Agenda</a:t>
            </a:r>
            <a:endParaRPr lang="nb-NO" sz="3200" dirty="0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EE85A25E-35D4-1194-4E7E-32339AFA123B}"/>
              </a:ext>
            </a:extLst>
          </p:cNvPr>
          <p:cNvSpPr txBox="1"/>
          <p:nvPr/>
        </p:nvSpPr>
        <p:spPr>
          <a:xfrm>
            <a:off x="8389856" y="1414021"/>
            <a:ext cx="2092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Sett ev. inn et bilde</a:t>
            </a:r>
          </a:p>
        </p:txBody>
      </p:sp>
    </p:spTree>
    <p:extLst>
      <p:ext uri="{BB962C8B-B14F-4D97-AF65-F5344CB8AC3E}">
        <p14:creationId xmlns:p14="http://schemas.microsoft.com/office/powerpoint/2010/main" val="41356441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kstSylinder 5"/>
          <p:cNvSpPr txBox="1"/>
          <p:nvPr/>
        </p:nvSpPr>
        <p:spPr>
          <a:xfrm>
            <a:off x="866051" y="1894257"/>
            <a:ext cx="654884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[Oppsummer utfordringsbildet for deres kommune. Skriv korte kulepunkter og vær konkret. Se Veikart for tjenesteinnovasjon for mer informasjon om hvordan dere kan utforske utfordringsbildet.]</a:t>
            </a:r>
          </a:p>
          <a:p>
            <a:endParaRPr lang="nb-NO" dirty="0"/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E03C9D31-3B53-6BC9-5CF3-A957B3C25F44}"/>
              </a:ext>
            </a:extLst>
          </p:cNvPr>
          <p:cNvSpPr txBox="1"/>
          <p:nvPr/>
        </p:nvSpPr>
        <p:spPr>
          <a:xfrm>
            <a:off x="792481" y="374469"/>
            <a:ext cx="931817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200" dirty="0"/>
              <a:t>Utfordringsbildet i deres kommune</a:t>
            </a:r>
          </a:p>
          <a:p>
            <a:r>
              <a:rPr lang="nb-NO" sz="3200" dirty="0"/>
              <a:t>(</a:t>
            </a:r>
            <a:r>
              <a:rPr lang="nb-NO" sz="2400" dirty="0"/>
              <a:t>skriv ev. en setning som oppsummerer hovedutfordringer i sektoren(e)</a:t>
            </a:r>
            <a:endParaRPr lang="nb-NO" sz="3200" dirty="0"/>
          </a:p>
        </p:txBody>
      </p:sp>
      <p:sp>
        <p:nvSpPr>
          <p:cNvPr id="2" name="Rectangle 10">
            <a:extLst>
              <a:ext uri="{FF2B5EF4-FFF2-40B4-BE49-F238E27FC236}">
                <a16:creationId xmlns:a16="http://schemas.microsoft.com/office/drawing/2014/main" id="{780599BA-64D4-81E5-FB6A-00472BBE59CA}"/>
              </a:ext>
            </a:extLst>
          </p:cNvPr>
          <p:cNvSpPr/>
          <p:nvPr/>
        </p:nvSpPr>
        <p:spPr>
          <a:xfrm>
            <a:off x="8751279" y="1830310"/>
            <a:ext cx="3071917" cy="3971565"/>
          </a:xfrm>
          <a:prstGeom prst="rect">
            <a:avLst/>
          </a:prstGeom>
          <a:solidFill>
            <a:srgbClr val="8BAE4A"/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Fjern denne boksen og sett inn statistikk og tall som beskriver utfordringsbildet i deres kommune)</a:t>
            </a:r>
          </a:p>
        </p:txBody>
      </p:sp>
      <p:pic>
        <p:nvPicPr>
          <p:cNvPr id="4" name="Picture 21">
            <a:extLst>
              <a:ext uri="{FF2B5EF4-FFF2-40B4-BE49-F238E27FC236}">
                <a16:creationId xmlns:a16="http://schemas.microsoft.com/office/drawing/2014/main" id="{B59BA2F5-5305-02C7-0E6B-C36A3D4A6D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36" r="6731"/>
          <a:stretch/>
        </p:blipFill>
        <p:spPr bwMode="auto">
          <a:xfrm>
            <a:off x="8822478" y="3393494"/>
            <a:ext cx="2929521" cy="1763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134122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343074" y="343888"/>
            <a:ext cx="9504186" cy="557836"/>
          </a:xfrm>
        </p:spPr>
        <p:txBody>
          <a:bodyPr anchor="t"/>
          <a:lstStyle/>
          <a:p>
            <a:r>
              <a:rPr lang="nb-NO" dirty="0"/>
              <a:t>Introduksjon til SWOT-analys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1351386" y="1634464"/>
            <a:ext cx="5968750" cy="5048231"/>
          </a:xfrm>
        </p:spPr>
        <p:txBody>
          <a:bodyPr>
            <a:noAutofit/>
          </a:bodyPr>
          <a:lstStyle/>
          <a:p>
            <a:pPr>
              <a:spcBef>
                <a:spcPts val="336"/>
              </a:spcBef>
              <a:spcAft>
                <a:spcPts val="336"/>
              </a:spcAft>
            </a:pPr>
            <a:r>
              <a:rPr lang="nb-NO" b="1" dirty="0">
                <a:solidFill>
                  <a:srgbClr val="3A7EC0"/>
                </a:solidFill>
              </a:rPr>
              <a:t>Hva er SWOT-analyse?</a:t>
            </a:r>
          </a:p>
          <a:p>
            <a:pPr>
              <a:spcBef>
                <a:spcPts val="336"/>
              </a:spcBef>
              <a:spcAft>
                <a:spcPts val="336"/>
              </a:spcAft>
            </a:pPr>
            <a:endParaRPr lang="nb-NO" sz="500" b="1" dirty="0">
              <a:solidFill>
                <a:srgbClr val="3A7EC0"/>
              </a:solidFill>
            </a:endParaRPr>
          </a:p>
          <a:p>
            <a:pPr>
              <a:spcBef>
                <a:spcPts val="336"/>
              </a:spcBef>
              <a:spcAft>
                <a:spcPts val="336"/>
              </a:spcAft>
            </a:pPr>
            <a:r>
              <a:rPr lang="nb-NO" dirty="0"/>
              <a:t>SWOT-analyse er en strukturert tilnærming til å analysere dagens situasjon for tjeneste, avdeling, enhet eller kommune.</a:t>
            </a:r>
          </a:p>
          <a:p>
            <a:pPr>
              <a:spcBef>
                <a:spcPts val="336"/>
              </a:spcBef>
              <a:spcAft>
                <a:spcPts val="336"/>
              </a:spcAft>
            </a:pPr>
            <a:endParaRPr lang="nb-NO" sz="100" dirty="0"/>
          </a:p>
          <a:p>
            <a:pPr>
              <a:spcBef>
                <a:spcPts val="336"/>
              </a:spcBef>
              <a:spcAft>
                <a:spcPts val="336"/>
              </a:spcAft>
            </a:pPr>
            <a:r>
              <a:rPr lang="nb-NO" dirty="0"/>
              <a:t>I SWOT-analysen skal det identifiseres organisasjonens interne styrker (S - </a:t>
            </a:r>
            <a:r>
              <a:rPr lang="nb-NO" dirty="0" err="1"/>
              <a:t>strengths</a:t>
            </a:r>
            <a:r>
              <a:rPr lang="nb-NO" dirty="0"/>
              <a:t>) og svakheter (W - </a:t>
            </a:r>
            <a:r>
              <a:rPr lang="nb-NO" dirty="0" err="1"/>
              <a:t>weaknesses</a:t>
            </a:r>
            <a:r>
              <a:rPr lang="nb-NO" dirty="0"/>
              <a:t>), og eksterne muligheter (O – </a:t>
            </a:r>
            <a:r>
              <a:rPr lang="nb-NO" dirty="0" err="1"/>
              <a:t>opportunities</a:t>
            </a:r>
            <a:r>
              <a:rPr lang="nb-NO" dirty="0"/>
              <a:t>) og trusler (T – </a:t>
            </a:r>
            <a:r>
              <a:rPr lang="nb-NO" dirty="0" err="1"/>
              <a:t>threats</a:t>
            </a:r>
            <a:r>
              <a:rPr lang="nb-NO" dirty="0"/>
              <a:t>).</a:t>
            </a:r>
          </a:p>
          <a:p>
            <a:pPr>
              <a:spcBef>
                <a:spcPts val="336"/>
              </a:spcBef>
              <a:spcAft>
                <a:spcPts val="336"/>
              </a:spcAft>
            </a:pPr>
            <a:endParaRPr lang="nb-NO" sz="100" dirty="0"/>
          </a:p>
          <a:p>
            <a:pPr>
              <a:spcBef>
                <a:spcPts val="336"/>
              </a:spcBef>
              <a:spcAft>
                <a:spcPts val="336"/>
              </a:spcAft>
            </a:pPr>
            <a:r>
              <a:rPr lang="nb-NO" dirty="0"/>
              <a:t>SWOT-analyse bygger videre på hovedfunnene fra innsiktsarbeidet.</a:t>
            </a:r>
          </a:p>
          <a:p>
            <a:pPr>
              <a:spcBef>
                <a:spcPts val="336"/>
              </a:spcBef>
              <a:spcAft>
                <a:spcPts val="336"/>
              </a:spcAft>
            </a:pPr>
            <a:endParaRPr lang="nb-NO" sz="1800" dirty="0"/>
          </a:p>
          <a:p>
            <a:pPr>
              <a:spcBef>
                <a:spcPts val="336"/>
              </a:spcBef>
              <a:spcAft>
                <a:spcPts val="336"/>
              </a:spcAft>
            </a:pPr>
            <a:r>
              <a:rPr lang="nb-NO" b="1" dirty="0">
                <a:solidFill>
                  <a:srgbClr val="3A7EC0"/>
                </a:solidFill>
              </a:rPr>
              <a:t>Hvorfor utarbeide SWOT-analyse?</a:t>
            </a:r>
          </a:p>
          <a:p>
            <a:pPr>
              <a:spcBef>
                <a:spcPts val="336"/>
              </a:spcBef>
              <a:spcAft>
                <a:spcPts val="336"/>
              </a:spcAft>
            </a:pPr>
            <a:endParaRPr lang="nb-NO" sz="500" dirty="0"/>
          </a:p>
          <a:p>
            <a:pPr>
              <a:spcBef>
                <a:spcPts val="336"/>
              </a:spcBef>
              <a:spcAft>
                <a:spcPts val="336"/>
              </a:spcAft>
            </a:pPr>
            <a:r>
              <a:rPr lang="nb-NO" dirty="0"/>
              <a:t>SWOT-analyse hjelper dere med å definere «hvor vi står i dag», forstå utfordringsbildet og avdekke mulighetsrommet.</a:t>
            </a:r>
          </a:p>
          <a:p>
            <a:pPr>
              <a:spcBef>
                <a:spcPts val="336"/>
              </a:spcBef>
              <a:spcAft>
                <a:spcPts val="336"/>
              </a:spcAft>
            </a:pPr>
            <a:endParaRPr lang="nb-NO" sz="100" dirty="0"/>
          </a:p>
          <a:p>
            <a:pPr>
              <a:spcBef>
                <a:spcPts val="336"/>
              </a:spcBef>
              <a:spcAft>
                <a:spcPts val="336"/>
              </a:spcAft>
            </a:pPr>
            <a:r>
              <a:rPr lang="nb-NO" dirty="0"/>
              <a:t>SWOT-analysen kan også bidra til dialog, felles forståelse av dagens situasjon og forankring av behovet for endring. 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271464" y="6526438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>
                <a:solidFill>
                  <a:prstClr val="black">
                    <a:tint val="75000"/>
                  </a:prstClr>
                </a:solidFill>
                <a:latin typeface="Arial"/>
              </a:rPr>
              <a:pPr/>
              <a:t>6</a:t>
            </a:fld>
            <a:endParaRPr lang="nb-NO" dirty="0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  <p:sp>
        <p:nvSpPr>
          <p:cNvPr id="15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8176240" y="1759949"/>
            <a:ext cx="3177878" cy="4766488"/>
          </a:xfrm>
        </p:spPr>
        <p:txBody>
          <a:bodyPr>
            <a:noAutofit/>
          </a:bodyPr>
          <a:lstStyle/>
          <a:p>
            <a:pPr lvl="0"/>
            <a:r>
              <a:rPr lang="nb-NO" b="1" dirty="0">
                <a:solidFill>
                  <a:srgbClr val="000000"/>
                </a:solidFill>
                <a:ea typeface="Arial"/>
                <a:sym typeface="Helvetica"/>
              </a:rPr>
              <a:t>Når utføres dette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Etter dere har identifisert hovedfunn fra innsiktsarbeidet.</a:t>
            </a:r>
          </a:p>
          <a:p>
            <a:endParaRPr lang="nb-NO" dirty="0"/>
          </a:p>
          <a:p>
            <a:endParaRPr lang="nb-NO" dirty="0"/>
          </a:p>
          <a:p>
            <a:pPr lvl="0"/>
            <a:r>
              <a:rPr lang="nb-NO" b="1" dirty="0">
                <a:solidFill>
                  <a:srgbClr val="000000"/>
                </a:solidFill>
                <a:ea typeface="Arial"/>
              </a:rPr>
              <a:t>Hvem er med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Prosjektleder og tea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Ledere, mellomledere og ansatte</a:t>
            </a:r>
          </a:p>
          <a:p>
            <a:endParaRPr lang="nb-NO" b="1" dirty="0"/>
          </a:p>
          <a:p>
            <a:endParaRPr lang="nb-NO" dirty="0"/>
          </a:p>
        </p:txBody>
      </p:sp>
      <p:sp>
        <p:nvSpPr>
          <p:cNvPr id="4" name="TextBox 3"/>
          <p:cNvSpPr txBox="1"/>
          <p:nvPr/>
        </p:nvSpPr>
        <p:spPr>
          <a:xfrm>
            <a:off x="12556050" y="4784589"/>
            <a:ext cx="1846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77860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1809" y="327262"/>
            <a:ext cx="9497138" cy="557836"/>
          </a:xfrm>
        </p:spPr>
        <p:txBody>
          <a:bodyPr/>
          <a:lstStyle/>
          <a:p>
            <a:r>
              <a:rPr lang="nb-NO" dirty="0"/>
              <a:t>Introduksjon til SWOT-analys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352550" y="1628775"/>
            <a:ext cx="5652318" cy="4897663"/>
          </a:xfrm>
        </p:spPr>
        <p:txBody>
          <a:bodyPr>
            <a:normAutofit lnSpcReduction="10000"/>
          </a:bodyPr>
          <a:lstStyle/>
          <a:p>
            <a:r>
              <a:rPr lang="nb-NO" b="1" dirty="0">
                <a:solidFill>
                  <a:srgbClr val="3A7EC0"/>
                </a:solidFill>
              </a:rPr>
              <a:t>Hvordan gjennomføre SWOT-analyse?</a:t>
            </a:r>
          </a:p>
          <a:p>
            <a:endParaRPr lang="nb-NO" b="1" dirty="0">
              <a:solidFill>
                <a:srgbClr val="3A7EC0"/>
              </a:solidFill>
            </a:endParaRPr>
          </a:p>
          <a:p>
            <a:r>
              <a:rPr lang="nb-NO" b="1" dirty="0">
                <a:solidFill>
                  <a:srgbClr val="3A7EC0"/>
                </a:solidFill>
              </a:rPr>
              <a:t>Steg 1</a:t>
            </a:r>
            <a:r>
              <a:rPr lang="nb-NO" dirty="0">
                <a:solidFill>
                  <a:srgbClr val="3A7EC0"/>
                </a:solidFill>
              </a:rPr>
              <a:t> </a:t>
            </a:r>
            <a:r>
              <a:rPr lang="nb-NO" dirty="0"/>
              <a:t>SWOT-analyse gjennomføres i et felles arbeidsmøte med ansatte og andre berørte. Start med å definere analyseområde. Hvem skal dere gjennomføre analysen for? Hele kommunen, en virksomhet, tjeneste eller avdeling? </a:t>
            </a:r>
          </a:p>
          <a:p>
            <a:endParaRPr lang="nb-NO" b="1" dirty="0"/>
          </a:p>
          <a:p>
            <a:r>
              <a:rPr lang="nb-NO" b="1" dirty="0">
                <a:solidFill>
                  <a:srgbClr val="3A7EC0"/>
                </a:solidFill>
              </a:rPr>
              <a:t>Steg 2 </a:t>
            </a:r>
            <a:r>
              <a:rPr lang="nb-NO" dirty="0"/>
              <a:t>Tegn opp en firefelts-matrise jfr. mal på gråpapir. Legg på post it-lapper i hver kvadrant. Vær ærlig og realistisk i forhold til hva som er styrker, svakheter, muligheter og trusler for tjenesten/avdelingen/enheten, og la alle komme med innspill.</a:t>
            </a:r>
          </a:p>
          <a:p>
            <a:endParaRPr lang="nb-NO" b="1" dirty="0"/>
          </a:p>
          <a:p>
            <a:r>
              <a:rPr lang="nb-NO" b="1" dirty="0">
                <a:solidFill>
                  <a:srgbClr val="3A7EC0"/>
                </a:solidFill>
              </a:rPr>
              <a:t>Steg 3 </a:t>
            </a:r>
            <a:r>
              <a:rPr lang="nb-NO" dirty="0"/>
              <a:t>Gjennomgå post it-lappene på nytt for å slå sammen overlappende argumenter, og sikre felles forståelse av innspillene.</a:t>
            </a:r>
          </a:p>
          <a:p>
            <a:endParaRPr lang="nb-NO" b="1" dirty="0"/>
          </a:p>
          <a:p>
            <a:r>
              <a:rPr lang="nb-NO" b="1" dirty="0">
                <a:solidFill>
                  <a:srgbClr val="3A7EC0"/>
                </a:solidFill>
              </a:rPr>
              <a:t>Steg 4 </a:t>
            </a:r>
            <a:r>
              <a:rPr lang="nb-NO" dirty="0"/>
              <a:t>Dokumenter resultatene fra møtet i malen som følger. Inkluder kun vesentlige forhold i stikkordsform.</a:t>
            </a:r>
          </a:p>
          <a:p>
            <a:endParaRPr lang="nb-NO" b="1" dirty="0"/>
          </a:p>
          <a:p>
            <a:r>
              <a:rPr lang="nb-NO" b="1" dirty="0">
                <a:solidFill>
                  <a:srgbClr val="3A7EC0"/>
                </a:solidFill>
              </a:rPr>
              <a:t>Steg 5 </a:t>
            </a:r>
            <a:r>
              <a:rPr lang="nb-NO" dirty="0"/>
              <a:t>Del resultatene fra SWOT-analysen med ansatte som berøres av innovasjonsarbeidet på tvers av enheter og nivåer. Benytt innsiktene dere har opparbeidet i det videre arbeidet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7868505" y="2751154"/>
            <a:ext cx="3911234" cy="1564430"/>
          </a:xfrm>
        </p:spPr>
        <p:txBody>
          <a:bodyPr/>
          <a:lstStyle/>
          <a:p>
            <a:r>
              <a:rPr lang="nb-NO" dirty="0"/>
              <a:t>Gråpapir</a:t>
            </a:r>
          </a:p>
          <a:p>
            <a:r>
              <a:rPr lang="nb-NO" dirty="0"/>
              <a:t>Post it-lapper</a:t>
            </a:r>
          </a:p>
          <a:p>
            <a:r>
              <a:rPr lang="nb-NO" dirty="0"/>
              <a:t>Tusjpenn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3"/>
          </p:nvPr>
        </p:nvSpPr>
        <p:spPr>
          <a:xfrm>
            <a:off x="7880470" y="2354308"/>
            <a:ext cx="3911234" cy="350792"/>
          </a:xfrm>
        </p:spPr>
        <p:txBody>
          <a:bodyPr/>
          <a:lstStyle/>
          <a:p>
            <a:r>
              <a:rPr lang="nb-NO" dirty="0"/>
              <a:t>Utstyr: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1271464" y="6526438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>
                <a:solidFill>
                  <a:prstClr val="black">
                    <a:tint val="75000"/>
                  </a:prstClr>
                </a:solidFill>
                <a:latin typeface="Arial"/>
              </a:rPr>
              <a:pPr/>
              <a:t>7</a:t>
            </a:fld>
            <a:endParaRPr lang="nb-NO" dirty="0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930458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3265959"/>
              </p:ext>
            </p:ext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ell 4">
            <a:extLst>
              <a:ext uri="{FF2B5EF4-FFF2-40B4-BE49-F238E27FC236}">
                <a16:creationId xmlns:a16="http://schemas.microsoft.com/office/drawing/2014/main" id="{C26631D5-EF94-111B-E95F-C6D53087D2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0334305"/>
              </p:ext>
            </p:extLst>
          </p:nvPr>
        </p:nvGraphicFramePr>
        <p:xfrm>
          <a:off x="42944" y="33585"/>
          <a:ext cx="12168000" cy="684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84000">
                  <a:extLst>
                    <a:ext uri="{9D8B030D-6E8A-4147-A177-3AD203B41FA5}">
                      <a16:colId xmlns:a16="http://schemas.microsoft.com/office/drawing/2014/main" val="2931706924"/>
                    </a:ext>
                  </a:extLst>
                </a:gridCol>
                <a:gridCol w="6084000">
                  <a:extLst>
                    <a:ext uri="{9D8B030D-6E8A-4147-A177-3AD203B41FA5}">
                      <a16:colId xmlns:a16="http://schemas.microsoft.com/office/drawing/2014/main" val="3634739241"/>
                    </a:ext>
                  </a:extLst>
                </a:gridCol>
              </a:tblGrid>
              <a:tr h="3420000">
                <a:tc>
                  <a:txBody>
                    <a:bodyPr/>
                    <a:lstStyle/>
                    <a:p>
                      <a:pPr algn="l"/>
                      <a:r>
                        <a:rPr lang="nb-NO" dirty="0"/>
                        <a:t>Styrker</a:t>
                      </a:r>
                    </a:p>
                    <a:p>
                      <a:pPr algn="l"/>
                      <a:r>
                        <a:rPr lang="nb-NO" sz="1200" dirty="0"/>
                        <a:t>Hva er positiv eller verdifullt med dagens </a:t>
                      </a:r>
                      <a:r>
                        <a:rPr lang="nb-NO" sz="1200" dirty="0" err="1"/>
                        <a:t>strategi,samarbeid</a:t>
                      </a:r>
                      <a:r>
                        <a:rPr lang="nb-NO" sz="1200" dirty="0"/>
                        <a:t>, ressurser, kompetanse, kultur, arbeidsprosesser og andre interne forhold?</a:t>
                      </a:r>
                    </a:p>
                    <a:p>
                      <a:pPr algn="l"/>
                      <a:endParaRPr lang="nb-NO" dirty="0"/>
                    </a:p>
                    <a:p>
                      <a:pPr algn="l"/>
                      <a:endParaRPr lang="nb-NO" dirty="0"/>
                    </a:p>
                    <a:p>
                      <a:pPr algn="l"/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nb-NO" dirty="0"/>
                        <a:t>Svakheter</a:t>
                      </a:r>
                    </a:p>
                    <a:p>
                      <a:pPr algn="l"/>
                      <a:r>
                        <a:rPr lang="nb-NO" sz="1200" dirty="0"/>
                        <a:t>Hva er mindre bra, negativt eller mangelfullt med dagens strategi, samarbeid, ressurser, kompetanse, kultur, arbeidsprosesser og andre interne forhold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3251195"/>
                  </a:ext>
                </a:extLst>
              </a:tr>
              <a:tr h="3420000">
                <a:tc>
                  <a:txBody>
                    <a:bodyPr/>
                    <a:lstStyle/>
                    <a:p>
                      <a:pPr algn="l"/>
                      <a:r>
                        <a:rPr lang="nb-NO" dirty="0">
                          <a:solidFill>
                            <a:schemeClr val="tx1"/>
                          </a:solidFill>
                        </a:rPr>
                        <a:t>Muligheter</a:t>
                      </a:r>
                    </a:p>
                    <a:p>
                      <a:pPr algn="l"/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Hvilke potensielle muligheter finnes i dagens inntektsgrunnlag, nye samarbeid, endringer i lovverk, teknologi, geografi og andre eksterne forhold? Hvilke positive konsekvenser kan oppnås ved utnyttelse av styrkene?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nb-NO" dirty="0"/>
                        <a:t>Trusler</a:t>
                      </a:r>
                    </a:p>
                    <a:p>
                      <a:pPr algn="l"/>
                      <a:r>
                        <a:rPr lang="nb-NO" sz="1200" dirty="0"/>
                        <a:t>Hvilke potensielle utfordringer/trusler finnes i dagens befolkningssammensetning, inntektsgrunnlag, endringer i lovverk, teknologi, geografi og andre eksterne forhold som kan ha negativ effekt? Hvilke negative konsekvenser kan komme dersom svakheter vedvarer?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9893128"/>
                  </a:ext>
                </a:extLst>
              </a:tr>
            </a:tbl>
          </a:graphicData>
        </a:graphic>
      </p:graphicFrame>
      <p:sp>
        <p:nvSpPr>
          <p:cNvPr id="6" name="TekstSylinder 5">
            <a:extLst>
              <a:ext uri="{FF2B5EF4-FFF2-40B4-BE49-F238E27FC236}">
                <a16:creationId xmlns:a16="http://schemas.microsoft.com/office/drawing/2014/main" id="{DF1A8061-6568-3D90-44D5-96F389A04D5C}"/>
              </a:ext>
            </a:extLst>
          </p:cNvPr>
          <p:cNvSpPr txBox="1"/>
          <p:nvPr/>
        </p:nvSpPr>
        <p:spPr>
          <a:xfrm>
            <a:off x="5539584" y="2950591"/>
            <a:ext cx="1093509" cy="5232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nb-NO" sz="1400" dirty="0">
                <a:latin typeface="Arial" panose="020B0604020202020204" pitchFamily="34" charset="0"/>
                <a:cs typeface="Arial" panose="020B0604020202020204" pitchFamily="34" charset="0"/>
              </a:rPr>
              <a:t>SWOT</a:t>
            </a:r>
          </a:p>
          <a:p>
            <a:r>
              <a:rPr lang="nb-NO" sz="1400" dirty="0">
                <a:latin typeface="Arial" panose="020B0604020202020204" pitchFamily="34" charset="0"/>
                <a:cs typeface="Arial" panose="020B0604020202020204" pitchFamily="34" charset="0"/>
              </a:rPr>
              <a:t>ANALYSE</a:t>
            </a:r>
          </a:p>
        </p:txBody>
      </p:sp>
    </p:spTree>
    <p:extLst>
      <p:ext uri="{BB962C8B-B14F-4D97-AF65-F5344CB8AC3E}">
        <p14:creationId xmlns:p14="http://schemas.microsoft.com/office/powerpoint/2010/main" val="10048734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Sylinder 2">
            <a:extLst>
              <a:ext uri="{FF2B5EF4-FFF2-40B4-BE49-F238E27FC236}">
                <a16:creationId xmlns:a16="http://schemas.microsoft.com/office/drawing/2014/main" id="{E03C9D31-3B53-6BC9-5CF3-A957B3C25F44}"/>
              </a:ext>
            </a:extLst>
          </p:cNvPr>
          <p:cNvSpPr txBox="1"/>
          <p:nvPr/>
        </p:nvSpPr>
        <p:spPr>
          <a:xfrm>
            <a:off x="609600" y="496143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nb-NO" sz="2800" dirty="0">
                <a:solidFill>
                  <a:srgbClr val="001A58"/>
                </a:solidFill>
                <a:latin typeface="+mj-lt"/>
                <a:ea typeface="+mj-ea"/>
                <a:cs typeface="+mj-cs"/>
              </a:rPr>
              <a:t>Problemet som innovasjonsprosjektet skal løse</a:t>
            </a:r>
            <a:endParaRPr lang="nb-NO" sz="2800" kern="1200" dirty="0">
              <a:solidFill>
                <a:srgbClr val="001A58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78CFE5B8-133A-9AEA-1E63-964805B041F3}"/>
              </a:ext>
            </a:extLst>
          </p:cNvPr>
          <p:cNvSpPr txBox="1"/>
          <p:nvPr/>
        </p:nvSpPr>
        <p:spPr>
          <a:xfrm>
            <a:off x="609600" y="1967113"/>
            <a:ext cx="5384800" cy="368833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/>
          <a:p>
            <a:r>
              <a:rPr lang="nb-NO" sz="1600" b="1" dirty="0">
                <a:solidFill>
                  <a:srgbClr val="3A7EC0"/>
                </a:solidFill>
              </a:rPr>
              <a:t>Kort om [problemet innovasjonsprosjektet skal løse]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[Skriv kort om kjernen i problemet.]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[Skriv kort om hvem som er berørt av problemet og hvordan. Angi tall på omfanget problemet har.]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[Skriv kort om hvor alvorlig problemet er for personene som blir berørt.]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[Skriv kort hvilke faktorer som vil kunne påvirke problemet over tid. Er det noen faktorer i fremtiden som vil gjøre problemet verre eller forbedre situasjonen? Hva vil skje hvis problemet ikke løses i nærmeste fremtid?]</a:t>
            </a:r>
          </a:p>
          <a:p>
            <a:endParaRPr lang="nb-NO" sz="1600" dirty="0"/>
          </a:p>
          <a:p>
            <a:r>
              <a:rPr lang="nb-NO" sz="1600" b="1" dirty="0">
                <a:solidFill>
                  <a:srgbClr val="3A7EC0"/>
                </a:solidFill>
              </a:rPr>
              <a:t>Hvorfor [dette problemet] blir prioriter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[Begrunn kort hvorfor dere valgte å fokusere på dette problemet fremfor andre problemer. Bruk korte kulepunkter]</a:t>
            </a:r>
          </a:p>
          <a:p>
            <a:pPr>
              <a:spcBef>
                <a:spcPct val="20000"/>
              </a:spcBef>
              <a:buFont typeface="Arial"/>
            </a:pPr>
            <a:endParaRPr lang="nb-NO" sz="2000" dirty="0">
              <a:solidFill>
                <a:srgbClr val="001A58"/>
              </a:solidFill>
            </a:endParaRP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ADDB42DA-12AF-5C64-3344-ADD1158DB3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51602" y="1967114"/>
            <a:ext cx="2880000" cy="227520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628586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ISTID" val="c70f1e20-8956-4150-8fa9-9cc2e420928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8_KS_slidemaster">
  <a:themeElements>
    <a:clrScheme name="Custom 1">
      <a:dk1>
        <a:sysClr val="windowText" lastClr="000000"/>
      </a:dk1>
      <a:lt1>
        <a:sysClr val="window" lastClr="FFFFFF"/>
      </a:lt1>
      <a:dk2>
        <a:srgbClr val="001A58"/>
      </a:dk2>
      <a:lt2>
        <a:srgbClr val="A2A3A5"/>
      </a:lt2>
      <a:accent1>
        <a:srgbClr val="E09800"/>
      </a:accent1>
      <a:accent2>
        <a:srgbClr val="008CD3"/>
      </a:accent2>
      <a:accent3>
        <a:srgbClr val="BCCFE8"/>
      </a:accent3>
      <a:accent4>
        <a:srgbClr val="A70026"/>
      </a:accent4>
      <a:accent5>
        <a:srgbClr val="8C9B00"/>
      </a:accent5>
      <a:accent6>
        <a:srgbClr val="FF5800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NITO 050215">
  <a:themeElements>
    <a:clrScheme name="Custom 1">
      <a:dk1>
        <a:sysClr val="windowText" lastClr="000000"/>
      </a:dk1>
      <a:lt1>
        <a:sysClr val="window" lastClr="FFFFFF"/>
      </a:lt1>
      <a:dk2>
        <a:srgbClr val="001A58"/>
      </a:dk2>
      <a:lt2>
        <a:srgbClr val="A2A3A5"/>
      </a:lt2>
      <a:accent1>
        <a:srgbClr val="E09800"/>
      </a:accent1>
      <a:accent2>
        <a:srgbClr val="008CD3"/>
      </a:accent2>
      <a:accent3>
        <a:srgbClr val="BCCFE8"/>
      </a:accent3>
      <a:accent4>
        <a:srgbClr val="A70026"/>
      </a:accent4>
      <a:accent5>
        <a:srgbClr val="8C9B00"/>
      </a:accent5>
      <a:accent6>
        <a:srgbClr val="FF5800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7_MW PPT 2013">
  <a:themeElements>
    <a:clrScheme name="Advantage">
      <a:dk1>
        <a:sysClr val="windowText" lastClr="000000"/>
      </a:dk1>
      <a:lt1>
        <a:sysClr val="window" lastClr="FFFFFF"/>
      </a:lt1>
      <a:dk2>
        <a:srgbClr val="2B142D"/>
      </a:dk2>
      <a:lt2>
        <a:srgbClr val="C3AFCC"/>
      </a:lt2>
      <a:accent1>
        <a:srgbClr val="663366"/>
      </a:accent1>
      <a:accent2>
        <a:srgbClr val="330F42"/>
      </a:accent2>
      <a:accent3>
        <a:srgbClr val="666699"/>
      </a:accent3>
      <a:accent4>
        <a:srgbClr val="999966"/>
      </a:accent4>
      <a:accent5>
        <a:srgbClr val="F7901E"/>
      </a:accent5>
      <a:accent6>
        <a:srgbClr val="A3A101"/>
      </a:accent6>
      <a:hlink>
        <a:srgbClr val="BC5FBC"/>
      </a:hlink>
      <a:folHlink>
        <a:srgbClr val="9775A7"/>
      </a:folHlink>
    </a:clrScheme>
    <a:fontScheme name="Making Waves fo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t"/>
      <a:lstStyle>
        <a:defPPr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49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noAutofit/>
      </a:bodyPr>
      <a:lstStyle>
        <a:defPPr marL="0" indent="0">
          <a:spcBef>
            <a:spcPct val="20000"/>
          </a:spcBef>
          <a:defRPr sz="1800" dirty="0" err="1" smtClean="0">
            <a:solidFill>
              <a:srgbClr val="000000"/>
            </a:solidFill>
            <a:cs typeface="Arial" pitchFamily="34" charset="0"/>
          </a:defRPr>
        </a:defPPr>
      </a:lstStyle>
    </a:txDef>
  </a:objectDefaults>
  <a:extraClrSchemeLst>
    <a:extraClrScheme>
      <a:clrScheme name="5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2. janua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4_Innovasjonsbarometeret 2018 – kommunal sekto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Blank">
  <a:themeElements>
    <a:clrScheme name="Ramboll">
      <a:dk1>
        <a:srgbClr val="333333"/>
      </a:dk1>
      <a:lt1>
        <a:srgbClr val="FFFFFF"/>
      </a:lt1>
      <a:dk2>
        <a:srgbClr val="009DF0"/>
      </a:dk2>
      <a:lt2>
        <a:srgbClr val="797766"/>
      </a:lt2>
      <a:accent1>
        <a:srgbClr val="ADDDFF"/>
      </a:accent1>
      <a:accent2>
        <a:srgbClr val="3AA551"/>
      </a:accent2>
      <a:accent3>
        <a:srgbClr val="A8D100"/>
      </a:accent3>
      <a:accent4>
        <a:srgbClr val="C40079"/>
      </a:accent4>
      <a:accent5>
        <a:srgbClr val="C63418"/>
      </a:accent5>
      <a:accent6>
        <a:srgbClr val="D0CFC9"/>
      </a:accent6>
      <a:hlink>
        <a:srgbClr val="009DF0"/>
      </a:hlink>
      <a:folHlink>
        <a:srgbClr val="ADDDFF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R="0" algn="l" defTabSz="457200" rtl="0" eaLnBrk="0" fontAlgn="base" latinLnBrk="0" hangingPunct="0">
          <a:spcBef>
            <a:spcPct val="0"/>
          </a:spcBef>
          <a:buClrTx/>
          <a:buSzTx/>
          <a:tabLst/>
          <a:defRPr kumimoji="0" sz="1800" b="0" i="0" u="none" strike="noStrike" kern="120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Verdana"/>
            <a:ea typeface="Verdana" pitchFamily="34" charset="0"/>
            <a:cs typeface="Verdana" pitchFamily="34" charset="0"/>
          </a:defRPr>
        </a:defPPr>
      </a:lstStyle>
    </a:txDef>
  </a:objectDefaults>
  <a:extraClrSchemeLst/>
  <a:custClrLst>
    <a:custClr name="Black">
      <a:srgbClr val="333333"/>
    </a:custClr>
    <a:custClr name="Dark Grey">
      <a:srgbClr val="797766"/>
    </a:custClr>
    <a:custClr name="Cyan">
      <a:srgbClr val="009DF0"/>
    </a:custClr>
    <a:custClr name="Light Blue">
      <a:srgbClr val="ADDDFF"/>
    </a:custClr>
    <a:custClr name="Green">
      <a:srgbClr val="3AA551"/>
    </a:custClr>
    <a:custClr name="Lime Green">
      <a:srgbClr val="A8D100"/>
    </a:custClr>
    <a:custClr name="Magenta">
      <a:srgbClr val="C40079"/>
    </a:custClr>
    <a:custClr name="Warm Red">
      <a:srgbClr val="C63418"/>
    </a:custClr>
    <a:custClr name="Light Grey">
      <a:srgbClr val="D0CFC9"/>
    </a:custClr>
    <a:custClr name="Dark Blue">
      <a:srgbClr val="006FAD"/>
    </a:custClr>
    <a:custClr name="White">
      <a:srgbClr val="FFFFFF"/>
    </a:custClr>
    <a:custClr name="65% Dark Grey">
      <a:srgbClr val="A8A69B"/>
    </a:custClr>
    <a:custClr name="65% Cyan">
      <a:srgbClr val="59BFF5"/>
    </a:custClr>
    <a:custClr name="65% Light Blue">
      <a:srgbClr val="CAE9FF"/>
    </a:custClr>
    <a:custClr name="65% Green">
      <a:srgbClr val="7FC48E"/>
    </a:custClr>
    <a:custClr name="65% Lime Green">
      <a:srgbClr val="C6E159"/>
    </a:custClr>
    <a:custClr name="65% Magenta">
      <a:srgbClr val="D959A8"/>
    </a:custClr>
    <a:custClr name="65% Warm Red">
      <a:srgbClr val="DA7B69"/>
    </a:custClr>
    <a:custClr name="65% Light Grey">
      <a:srgbClr val="E0E0DC"/>
    </a:custClr>
    <a:custClr name="65% Dark Blue">
      <a:srgbClr val="59A1CA"/>
    </a:custClr>
    <a:custClr name="White">
      <a:srgbClr val="FFFFFF"/>
    </a:custClr>
    <a:custClr name="30% Dark Grey">
      <a:srgbClr val="D7D6D1"/>
    </a:custClr>
    <a:custClr name="30% Cyan">
      <a:srgbClr val="B2E1FA"/>
    </a:custClr>
    <a:custClr name="30% Light Blue">
      <a:srgbClr val="E6F5FF"/>
    </a:custClr>
    <a:custClr name="30% Green">
      <a:srgbClr val="C4E4CA"/>
    </a:custClr>
    <a:custClr name="30% Lime Green">
      <a:srgbClr val="E5F1B2"/>
    </a:custClr>
    <a:custClr name="30% Magenta">
      <a:srgbClr val="EDB2D7"/>
    </a:custClr>
    <a:custClr name="30% Warm Red">
      <a:srgbClr val="EEC2B9"/>
    </a:custClr>
    <a:custClr name="30% Light Grey">
      <a:srgbClr val="F6F6F4"/>
    </a:custClr>
    <a:custClr name="30% Dark Blue">
      <a:srgbClr val="B2D4E6"/>
    </a:custClr>
  </a:custClrLst>
  <a:extLst>
    <a:ext uri="{05A4C25C-085E-4340-85A3-A5531E510DB2}">
      <thm15:themeFamily xmlns:thm15="http://schemas.microsoft.com/office/thememl/2012/main" name="Blank.potx" id="{CC34BEB4-56BE-4C35-B3C1-ED2770E08490}" vid="{5E58AF69-3E00-4BE6-9424-5697BE04CE91}"/>
    </a:ext>
  </a:extLst>
</a:theme>
</file>

<file path=ppt/theme/theme7.xml><?xml version="1.0" encoding="utf-8"?>
<a:theme xmlns:a="http://schemas.openxmlformats.org/drawingml/2006/main" name="Samveis_Mal_KHE_NEW">
  <a:themeElements>
    <a:clrScheme name="Farger samveis">
      <a:dk1>
        <a:sysClr val="windowText" lastClr="000000"/>
      </a:dk1>
      <a:lt1>
        <a:sysClr val="window" lastClr="FFFFFF"/>
      </a:lt1>
      <a:dk2>
        <a:srgbClr val="3A7EC0"/>
      </a:dk2>
      <a:lt2>
        <a:srgbClr val="F7F8D9"/>
      </a:lt2>
      <a:accent1>
        <a:srgbClr val="3A7EC0"/>
      </a:accent1>
      <a:accent2>
        <a:srgbClr val="8BAE4A"/>
      </a:accent2>
      <a:accent3>
        <a:srgbClr val="9BA5AE"/>
      </a:accent3>
      <a:accent4>
        <a:srgbClr val="67674B"/>
      </a:accent4>
      <a:accent5>
        <a:srgbClr val="DCDE44"/>
      </a:accent5>
      <a:accent6>
        <a:srgbClr val="FCF21A"/>
      </a:accent6>
      <a:hlink>
        <a:srgbClr val="000000"/>
      </a:hlink>
      <a:folHlink>
        <a:srgbClr val="000000"/>
      </a:folHlink>
    </a:clrScheme>
    <a:fontScheme name="Samveis fon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amveis_mal" id="{36C031A2-F6DB-4C80-8301-5F3E73719B8E}" vid="{69C62D17-C552-45C8-9653-7B01577BA848}"/>
    </a:ext>
  </a:extLst>
</a:theme>
</file>

<file path=ppt/theme/theme8.xml><?xml version="1.0" encoding="utf-8"?>
<a:theme xmlns:a="http://schemas.openxmlformats.org/drawingml/2006/main" name="Samveis_mal">
  <a:themeElements>
    <a:clrScheme name="Farger samveis">
      <a:dk1>
        <a:sysClr val="windowText" lastClr="000000"/>
      </a:dk1>
      <a:lt1>
        <a:sysClr val="window" lastClr="FFFFFF"/>
      </a:lt1>
      <a:dk2>
        <a:srgbClr val="3A7EC0"/>
      </a:dk2>
      <a:lt2>
        <a:srgbClr val="F7F8D9"/>
      </a:lt2>
      <a:accent1>
        <a:srgbClr val="3A7EC0"/>
      </a:accent1>
      <a:accent2>
        <a:srgbClr val="8BAE4A"/>
      </a:accent2>
      <a:accent3>
        <a:srgbClr val="9BA5AE"/>
      </a:accent3>
      <a:accent4>
        <a:srgbClr val="67674B"/>
      </a:accent4>
      <a:accent5>
        <a:srgbClr val="DCDE44"/>
      </a:accent5>
      <a:accent6>
        <a:srgbClr val="FCF21A"/>
      </a:accent6>
      <a:hlink>
        <a:srgbClr val="8BAE4A"/>
      </a:hlink>
      <a:folHlink>
        <a:srgbClr val="67674B"/>
      </a:folHlink>
    </a:clrScheme>
    <a:fontScheme name="Samveis fon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amveis_mal" id="{36C031A2-F6DB-4C80-8301-5F3E73719B8E}" vid="{69C62D17-C552-45C8-9653-7B01577BA848}"/>
    </a:ext>
  </a:extLst>
</a:theme>
</file>

<file path=ppt/theme/theme9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osjektpresentasjon</Template>
  <TotalTime>56</TotalTime>
  <Words>1128</Words>
  <Application>Microsoft Office PowerPoint</Application>
  <PresentationFormat>Widescreen</PresentationFormat>
  <Paragraphs>236</Paragraphs>
  <Slides>18</Slides>
  <Notes>14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8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8</vt:i4>
      </vt:variant>
    </vt:vector>
  </HeadingPairs>
  <TitlesOfParts>
    <vt:vector size="32" baseType="lpstr">
      <vt:lpstr>Arial</vt:lpstr>
      <vt:lpstr>Calibri</vt:lpstr>
      <vt:lpstr>Georgia</vt:lpstr>
      <vt:lpstr>Helvetica 65 Medium</vt:lpstr>
      <vt:lpstr>Verdana</vt:lpstr>
      <vt:lpstr>8_KS_slidemaster</vt:lpstr>
      <vt:lpstr>1_NITO 050215</vt:lpstr>
      <vt:lpstr>17_MW PPT 2013</vt:lpstr>
      <vt:lpstr>22. januar</vt:lpstr>
      <vt:lpstr>4_Innovasjonsbarometeret 2018 – kommunal sektor</vt:lpstr>
      <vt:lpstr>Blank</vt:lpstr>
      <vt:lpstr>Samveis_Mal_KHE_NEW</vt:lpstr>
      <vt:lpstr>Samveis_mal</vt:lpstr>
      <vt:lpstr>think-cell Slide</vt:lpstr>
      <vt:lpstr>Prosjektpresentasjon</vt:lpstr>
      <vt:lpstr>PowerPoint-presentasjon</vt:lpstr>
      <vt:lpstr>PowerPoint-presentasjon</vt:lpstr>
      <vt:lpstr>PowerPoint-presentasjon</vt:lpstr>
      <vt:lpstr>PowerPoint-presentasjon</vt:lpstr>
      <vt:lpstr>Introduksjon til SWOT-analyse</vt:lpstr>
      <vt:lpstr>Introduksjon til SWOT-analyse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Avhengigheter til nasjonale, regionale og lokale prosjekter</vt:lpstr>
      <vt:lpstr>PowerPoint-presentasjon</vt:lpstr>
      <vt:lpstr>PowerPoint-presentasjon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sjektpresentasjon</dc:title>
  <dc:creator>Une Tangen</dc:creator>
  <cp:lastModifiedBy>Anette Hansen</cp:lastModifiedBy>
  <cp:revision>2</cp:revision>
  <cp:lastPrinted>2019-10-28T10:24:27Z</cp:lastPrinted>
  <dcterms:created xsi:type="dcterms:W3CDTF">2023-11-25T19:19:45Z</dcterms:created>
  <dcterms:modified xsi:type="dcterms:W3CDTF">2023-11-30T12:54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oudStatistics_StoryID">
    <vt:lpwstr>d8fee394-e633-4cd3-9c6f-0785f346b81a</vt:lpwstr>
  </property>
</Properties>
</file>